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1" r:id="rId3"/>
    <p:sldMasterId id="2147483706" r:id="rId4"/>
    <p:sldMasterId id="2147483715" r:id="rId5"/>
    <p:sldMasterId id="2147483729" r:id="rId6"/>
    <p:sldMasterId id="2147483758" r:id="rId7"/>
  </p:sldMasterIdLst>
  <p:notesMasterIdLst>
    <p:notesMasterId r:id="rId30"/>
  </p:notesMasterIdLst>
  <p:sldIdLst>
    <p:sldId id="257" r:id="rId8"/>
    <p:sldId id="436" r:id="rId9"/>
    <p:sldId id="11640" r:id="rId10"/>
    <p:sldId id="11641" r:id="rId11"/>
    <p:sldId id="11635" r:id="rId12"/>
    <p:sldId id="11638" r:id="rId13"/>
    <p:sldId id="11637" r:id="rId14"/>
    <p:sldId id="11639" r:id="rId15"/>
    <p:sldId id="308" r:id="rId16"/>
    <p:sldId id="359" r:id="rId17"/>
    <p:sldId id="1125" r:id="rId18"/>
    <p:sldId id="1126" r:id="rId19"/>
    <p:sldId id="1093" r:id="rId20"/>
    <p:sldId id="1127" r:id="rId21"/>
    <p:sldId id="1128" r:id="rId22"/>
    <p:sldId id="1129" r:id="rId23"/>
    <p:sldId id="1130" r:id="rId24"/>
    <p:sldId id="264" r:id="rId25"/>
    <p:sldId id="369" r:id="rId26"/>
    <p:sldId id="1122" r:id="rId27"/>
    <p:sldId id="297" r:id="rId28"/>
    <p:sldId id="113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A46306-657B-4EA0-AE71-DCC52E0D4346}" v="599" dt="2019-11-11T14:19:47.9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015" autoAdjust="0"/>
  </p:normalViewPr>
  <p:slideViewPr>
    <p:cSldViewPr snapToGrid="0">
      <p:cViewPr varScale="1">
        <p:scale>
          <a:sx n="66" d="100"/>
          <a:sy n="66" d="100"/>
        </p:scale>
        <p:origin x="1128" y="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cas Tavares Cosas" userId="4275685e-c962-4583-b080-2e157b601b27" providerId="ADAL" clId="{1F61282C-E6E0-4E6B-9E8E-3E3115359EC9}"/>
    <pc:docChg chg="undo custSel addSld delSld modSld">
      <pc:chgData name="Lucas Tavares Cosas" userId="4275685e-c962-4583-b080-2e157b601b27" providerId="ADAL" clId="{1F61282C-E6E0-4E6B-9E8E-3E3115359EC9}" dt="2018-07-04T16:38:43.651" v="148" actId="6549"/>
      <pc:docMkLst>
        <pc:docMk/>
      </pc:docMkLst>
      <pc:sldChg chg="modSp">
        <pc:chgData name="Lucas Tavares Cosas" userId="4275685e-c962-4583-b080-2e157b601b27" providerId="ADAL" clId="{1F61282C-E6E0-4E6B-9E8E-3E3115359EC9}" dt="2018-07-04T16:15:41.178" v="103" actId="20577"/>
        <pc:sldMkLst>
          <pc:docMk/>
          <pc:sldMk cId="4237075247" sldId="257"/>
        </pc:sldMkLst>
        <pc:spChg chg="mod">
          <ac:chgData name="Lucas Tavares Cosas" userId="4275685e-c962-4583-b080-2e157b601b27" providerId="ADAL" clId="{1F61282C-E6E0-4E6B-9E8E-3E3115359EC9}" dt="2018-07-04T16:15:41.178" v="103" actId="20577"/>
          <ac:spMkLst>
            <pc:docMk/>
            <pc:sldMk cId="4237075247" sldId="257"/>
            <ac:spMk id="7" creationId="{00000000-0000-0000-0000-000000000000}"/>
          </ac:spMkLst>
        </pc:spChg>
      </pc:sldChg>
      <pc:sldChg chg="modTransition">
        <pc:chgData name="Lucas Tavares Cosas" userId="4275685e-c962-4583-b080-2e157b601b27" providerId="ADAL" clId="{1F61282C-E6E0-4E6B-9E8E-3E3115359EC9}" dt="2018-06-28T17:25:22.696" v="90"/>
        <pc:sldMkLst>
          <pc:docMk/>
          <pc:sldMk cId="3955098916" sldId="265"/>
        </pc:sldMkLst>
      </pc:sldChg>
      <pc:sldChg chg="modTransition">
        <pc:chgData name="Lucas Tavares Cosas" userId="4275685e-c962-4583-b080-2e157b601b27" providerId="ADAL" clId="{1F61282C-E6E0-4E6B-9E8E-3E3115359EC9}" dt="2018-06-26T17:04:19.610" v="72"/>
        <pc:sldMkLst>
          <pc:docMk/>
          <pc:sldMk cId="1579567983" sldId="266"/>
        </pc:sldMkLst>
      </pc:sldChg>
      <pc:sldChg chg="modTransition">
        <pc:chgData name="Lucas Tavares Cosas" userId="4275685e-c962-4583-b080-2e157b601b27" providerId="ADAL" clId="{1F61282C-E6E0-4E6B-9E8E-3E3115359EC9}" dt="2018-06-26T17:07:37.325" v="73"/>
        <pc:sldMkLst>
          <pc:docMk/>
          <pc:sldMk cId="3186055682" sldId="271"/>
        </pc:sldMkLst>
      </pc:sldChg>
      <pc:sldChg chg="addSp delSp modSp">
        <pc:chgData name="Lucas Tavares Cosas" userId="4275685e-c962-4583-b080-2e157b601b27" providerId="ADAL" clId="{1F61282C-E6E0-4E6B-9E8E-3E3115359EC9}" dt="2018-07-04T16:38:43.651" v="148" actId="6549"/>
        <pc:sldMkLst>
          <pc:docMk/>
          <pc:sldMk cId="54293828" sldId="297"/>
        </pc:sldMkLst>
        <pc:spChg chg="mod">
          <ac:chgData name="Lucas Tavares Cosas" userId="4275685e-c962-4583-b080-2e157b601b27" providerId="ADAL" clId="{1F61282C-E6E0-4E6B-9E8E-3E3115359EC9}" dt="2018-07-04T16:38:43.651" v="148" actId="6549"/>
          <ac:spMkLst>
            <pc:docMk/>
            <pc:sldMk cId="54293828" sldId="297"/>
            <ac:spMk id="2" creationId="{0BE19F4C-294B-4D81-95B2-F99E7B221BD5}"/>
          </ac:spMkLst>
        </pc:spChg>
        <pc:spChg chg="add del mod">
          <ac:chgData name="Lucas Tavares Cosas" userId="4275685e-c962-4583-b080-2e157b601b27" providerId="ADAL" clId="{1F61282C-E6E0-4E6B-9E8E-3E3115359EC9}" dt="2018-06-22T16:23:52.882" v="67" actId="478"/>
          <ac:spMkLst>
            <pc:docMk/>
            <pc:sldMk cId="54293828" sldId="297"/>
            <ac:spMk id="4" creationId="{3CCE569B-96A2-481C-ADA9-A234437056EB}"/>
          </ac:spMkLst>
        </pc:spChg>
      </pc:sldChg>
      <pc:sldChg chg="add del modTransition">
        <pc:chgData name="Lucas Tavares Cosas" userId="4275685e-c962-4583-b080-2e157b601b27" providerId="ADAL" clId="{1F61282C-E6E0-4E6B-9E8E-3E3115359EC9}" dt="2018-07-04T16:19:27.618" v="104" actId="2696"/>
        <pc:sldMkLst>
          <pc:docMk/>
          <pc:sldMk cId="2086351409" sldId="372"/>
        </pc:sldMkLst>
      </pc:sldChg>
      <pc:sldChg chg="modSp">
        <pc:chgData name="Lucas Tavares Cosas" userId="4275685e-c962-4583-b080-2e157b601b27" providerId="ADAL" clId="{1F61282C-E6E0-4E6B-9E8E-3E3115359EC9}" dt="2018-06-28T16:41:44.831" v="74" actId="1076"/>
        <pc:sldMkLst>
          <pc:docMk/>
          <pc:sldMk cId="722905402" sldId="1122"/>
        </pc:sldMkLst>
        <pc:spChg chg="mod">
          <ac:chgData name="Lucas Tavares Cosas" userId="4275685e-c962-4583-b080-2e157b601b27" providerId="ADAL" clId="{1F61282C-E6E0-4E6B-9E8E-3E3115359EC9}" dt="2018-06-28T16:41:44.831" v="74" actId="1076"/>
          <ac:spMkLst>
            <pc:docMk/>
            <pc:sldMk cId="722905402" sldId="1122"/>
            <ac:spMk id="61" creationId="{EEFC37CE-28CE-44E7-90DA-65F08E1FB12E}"/>
          </ac:spMkLst>
        </pc:spChg>
      </pc:sldChg>
      <pc:sldChg chg="addSp delSp modSp modAnim">
        <pc:chgData name="Lucas Tavares Cosas" userId="4275685e-c962-4583-b080-2e157b601b27" providerId="ADAL" clId="{1F61282C-E6E0-4E6B-9E8E-3E3115359EC9}" dt="2018-07-04T16:21:41.427" v="126"/>
        <pc:sldMkLst>
          <pc:docMk/>
          <pc:sldMk cId="3524371626" sldId="1125"/>
        </pc:sldMkLst>
        <pc:spChg chg="add del">
          <ac:chgData name="Lucas Tavares Cosas" userId="4275685e-c962-4583-b080-2e157b601b27" providerId="ADAL" clId="{1F61282C-E6E0-4E6B-9E8E-3E3115359EC9}" dt="2018-07-04T16:20:14.757" v="108"/>
          <ac:spMkLst>
            <pc:docMk/>
            <pc:sldMk cId="3524371626" sldId="1125"/>
            <ac:spMk id="5" creationId="{A4EAFDD6-1D14-46F2-BF42-87EAC79B9D64}"/>
          </ac:spMkLst>
        </pc:spChg>
        <pc:grpChg chg="mod">
          <ac:chgData name="Lucas Tavares Cosas" userId="4275685e-c962-4583-b080-2e157b601b27" providerId="ADAL" clId="{1F61282C-E6E0-4E6B-9E8E-3E3115359EC9}" dt="2018-07-04T16:20:21.305" v="110" actId="1076"/>
          <ac:grpSpMkLst>
            <pc:docMk/>
            <pc:sldMk cId="3524371626" sldId="1125"/>
            <ac:grpSpMk id="3" creationId="{B01FA3A5-C8B3-4DE2-9D8B-935C3D647CF2}"/>
          </ac:grpSpMkLst>
        </pc:grpChg>
      </pc:sldChg>
      <pc:sldChg chg="delSp modSp modAnim">
        <pc:chgData name="Lucas Tavares Cosas" userId="4275685e-c962-4583-b080-2e157b601b27" providerId="ADAL" clId="{1F61282C-E6E0-4E6B-9E8E-3E3115359EC9}" dt="2018-07-04T16:22:24.087" v="135" actId="1076"/>
        <pc:sldMkLst>
          <pc:docMk/>
          <pc:sldMk cId="3905589022" sldId="1130"/>
        </pc:sldMkLst>
        <pc:picChg chg="del">
          <ac:chgData name="Lucas Tavares Cosas" userId="4275685e-c962-4583-b080-2e157b601b27" providerId="ADAL" clId="{1F61282C-E6E0-4E6B-9E8E-3E3115359EC9}" dt="2018-07-04T16:22:19.742" v="134" actId="478"/>
          <ac:picMkLst>
            <pc:docMk/>
            <pc:sldMk cId="3905589022" sldId="1130"/>
            <ac:picMk id="4" creationId="{5C0CC5E4-4A89-4B38-953D-43DCEC624E0B}"/>
          </ac:picMkLst>
        </pc:picChg>
        <pc:picChg chg="mod">
          <ac:chgData name="Lucas Tavares Cosas" userId="4275685e-c962-4583-b080-2e157b601b27" providerId="ADAL" clId="{1F61282C-E6E0-4E6B-9E8E-3E3115359EC9}" dt="2018-07-04T16:22:24.087" v="135" actId="1076"/>
          <ac:picMkLst>
            <pc:docMk/>
            <pc:sldMk cId="3905589022" sldId="1130"/>
            <ac:picMk id="5" creationId="{0F74A955-5DFC-49A3-BEFC-09EC2ECEF0E0}"/>
          </ac:picMkLst>
        </pc:picChg>
        <pc:picChg chg="del mod">
          <ac:chgData name="Lucas Tavares Cosas" userId="4275685e-c962-4583-b080-2e157b601b27" providerId="ADAL" clId="{1F61282C-E6E0-4E6B-9E8E-3E3115359EC9}" dt="2018-07-04T16:22:16.642" v="131" actId="478"/>
          <ac:picMkLst>
            <pc:docMk/>
            <pc:sldMk cId="3905589022" sldId="1130"/>
            <ac:picMk id="6" creationId="{09D2384B-A608-4844-ABDF-1798FC06DF8F}"/>
          </ac:picMkLst>
        </pc:picChg>
        <pc:picChg chg="del">
          <ac:chgData name="Lucas Tavares Cosas" userId="4275685e-c962-4583-b080-2e157b601b27" providerId="ADAL" clId="{1F61282C-E6E0-4E6B-9E8E-3E3115359EC9}" dt="2018-07-04T16:22:18.831" v="133" actId="478"/>
          <ac:picMkLst>
            <pc:docMk/>
            <pc:sldMk cId="3905589022" sldId="1130"/>
            <ac:picMk id="40" creationId="{6972E90B-39D1-44B9-B298-2062CC3A17B2}"/>
          </ac:picMkLst>
        </pc:picChg>
      </pc:sldChg>
      <pc:sldMasterChg chg="delSldLayout">
        <pc:chgData name="Lucas Tavares Cosas" userId="4275685e-c962-4583-b080-2e157b601b27" providerId="ADAL" clId="{1F61282C-E6E0-4E6B-9E8E-3E3115359EC9}" dt="2018-06-22T16:23:10.088" v="52" actId="2696"/>
        <pc:sldMasterMkLst>
          <pc:docMk/>
          <pc:sldMasterMk cId="1463196479" sldId="2147483706"/>
        </pc:sldMasterMkLst>
      </pc:sldMasterChg>
    </pc:docChg>
  </pc:docChgLst>
  <pc:docChgLst>
    <pc:chgData name="Lucas Cosas" userId="4275685e-c962-4583-b080-2e157b601b27" providerId="ADAL" clId="{6CA46306-657B-4EA0-AE71-DCC52E0D4346}"/>
    <pc:docChg chg="undo redo custSel addSld delSld modSld sldOrd modMainMaster">
      <pc:chgData name="Lucas Cosas" userId="4275685e-c962-4583-b080-2e157b601b27" providerId="ADAL" clId="{6CA46306-657B-4EA0-AE71-DCC52E0D4346}" dt="2019-11-11T14:19:47.944" v="1214" actId="20577"/>
      <pc:docMkLst>
        <pc:docMk/>
      </pc:docMkLst>
      <pc:sldChg chg="modSp">
        <pc:chgData name="Lucas Cosas" userId="4275685e-c962-4583-b080-2e157b601b27" providerId="ADAL" clId="{6CA46306-657B-4EA0-AE71-DCC52E0D4346}" dt="2019-11-11T13:56:27.216" v="790" actId="20577"/>
        <pc:sldMkLst>
          <pc:docMk/>
          <pc:sldMk cId="4237075247" sldId="257"/>
        </pc:sldMkLst>
        <pc:spChg chg="mod">
          <ac:chgData name="Lucas Cosas" userId="4275685e-c962-4583-b080-2e157b601b27" providerId="ADAL" clId="{6CA46306-657B-4EA0-AE71-DCC52E0D4346}" dt="2019-11-11T13:56:27.216" v="790" actId="20577"/>
          <ac:spMkLst>
            <pc:docMk/>
            <pc:sldMk cId="4237075247" sldId="257"/>
            <ac:spMk id="6" creationId="{00000000-0000-0000-0000-000000000000}"/>
          </ac:spMkLst>
        </pc:spChg>
        <pc:spChg chg="mod">
          <ac:chgData name="Lucas Cosas" userId="4275685e-c962-4583-b080-2e157b601b27" providerId="ADAL" clId="{6CA46306-657B-4EA0-AE71-DCC52E0D4346}" dt="2019-11-11T12:45:40.915" v="166" actId="20577"/>
          <ac:spMkLst>
            <pc:docMk/>
            <pc:sldMk cId="4237075247" sldId="257"/>
            <ac:spMk id="7" creationId="{00000000-0000-0000-0000-000000000000}"/>
          </ac:spMkLst>
        </pc:spChg>
      </pc:sldChg>
      <pc:sldChg chg="modSp modAnim">
        <pc:chgData name="Lucas Cosas" userId="4275685e-c962-4583-b080-2e157b601b27" providerId="ADAL" clId="{6CA46306-657B-4EA0-AE71-DCC52E0D4346}" dt="2019-11-11T13:04:53.744" v="276" actId="1038"/>
        <pc:sldMkLst>
          <pc:docMk/>
          <pc:sldMk cId="374297917" sldId="264"/>
        </pc:sldMkLst>
        <pc:spChg chg="mod">
          <ac:chgData name="Lucas Cosas" userId="4275685e-c962-4583-b080-2e157b601b27" providerId="ADAL" clId="{6CA46306-657B-4EA0-AE71-DCC52E0D4346}" dt="2019-11-11T13:04:53.744" v="276" actId="1038"/>
          <ac:spMkLst>
            <pc:docMk/>
            <pc:sldMk cId="374297917" sldId="264"/>
            <ac:spMk id="3" creationId="{00000000-0000-0000-0000-000000000000}"/>
          </ac:spMkLst>
        </pc:spChg>
      </pc:sldChg>
      <pc:sldChg chg="del">
        <pc:chgData name="Lucas Cosas" userId="4275685e-c962-4583-b080-2e157b601b27" providerId="ADAL" clId="{6CA46306-657B-4EA0-AE71-DCC52E0D4346}" dt="2019-11-11T13:13:38.074" v="367" actId="2696"/>
        <pc:sldMkLst>
          <pc:docMk/>
          <pc:sldMk cId="3955098916" sldId="265"/>
        </pc:sldMkLst>
      </pc:sldChg>
      <pc:sldChg chg="del">
        <pc:chgData name="Lucas Cosas" userId="4275685e-c962-4583-b080-2e157b601b27" providerId="ADAL" clId="{6CA46306-657B-4EA0-AE71-DCC52E0D4346}" dt="2019-11-11T13:13:36.870" v="366" actId="2696"/>
        <pc:sldMkLst>
          <pc:docMk/>
          <pc:sldMk cId="1579567983" sldId="266"/>
        </pc:sldMkLst>
      </pc:sldChg>
      <pc:sldChg chg="del">
        <pc:chgData name="Lucas Cosas" userId="4275685e-c962-4583-b080-2e157b601b27" providerId="ADAL" clId="{6CA46306-657B-4EA0-AE71-DCC52E0D4346}" dt="2019-11-11T13:13:35.095" v="365" actId="2696"/>
        <pc:sldMkLst>
          <pc:docMk/>
          <pc:sldMk cId="3186055682" sldId="271"/>
        </pc:sldMkLst>
      </pc:sldChg>
      <pc:sldChg chg="delSp modSp">
        <pc:chgData name="Lucas Cosas" userId="4275685e-c962-4583-b080-2e157b601b27" providerId="ADAL" clId="{6CA46306-657B-4EA0-AE71-DCC52E0D4346}" dt="2019-11-11T14:16:07.999" v="906" actId="207"/>
        <pc:sldMkLst>
          <pc:docMk/>
          <pc:sldMk cId="54293828" sldId="297"/>
        </pc:sldMkLst>
        <pc:spChg chg="mod">
          <ac:chgData name="Lucas Cosas" userId="4275685e-c962-4583-b080-2e157b601b27" providerId="ADAL" clId="{6CA46306-657B-4EA0-AE71-DCC52E0D4346}" dt="2019-11-11T14:16:07.999" v="906" actId="207"/>
          <ac:spMkLst>
            <pc:docMk/>
            <pc:sldMk cId="54293828" sldId="297"/>
            <ac:spMk id="2" creationId="{0BE19F4C-294B-4D81-95B2-F99E7B221BD5}"/>
          </ac:spMkLst>
        </pc:spChg>
        <pc:spChg chg="del mod">
          <ac:chgData name="Lucas Cosas" userId="4275685e-c962-4583-b080-2e157b601b27" providerId="ADAL" clId="{6CA46306-657B-4EA0-AE71-DCC52E0D4346}" dt="2019-11-11T12:45:28.704" v="155" actId="478"/>
          <ac:spMkLst>
            <pc:docMk/>
            <pc:sldMk cId="54293828" sldId="297"/>
            <ac:spMk id="3" creationId="{5465E439-E68B-4266-81E9-225EC84E055D}"/>
          </ac:spMkLst>
        </pc:spChg>
      </pc:sldChg>
      <pc:sldChg chg="addSp delSp modSp delAnim modAnim">
        <pc:chgData name="Lucas Cosas" userId="4275685e-c962-4583-b080-2e157b601b27" providerId="ADAL" clId="{6CA46306-657B-4EA0-AE71-DCC52E0D4346}" dt="2019-11-11T12:32:34.688" v="16" actId="20577"/>
        <pc:sldMkLst>
          <pc:docMk/>
          <pc:sldMk cId="3296057957" sldId="308"/>
        </pc:sldMkLst>
        <pc:spChg chg="mod">
          <ac:chgData name="Lucas Cosas" userId="4275685e-c962-4583-b080-2e157b601b27" providerId="ADAL" clId="{6CA46306-657B-4EA0-AE71-DCC52E0D4346}" dt="2019-11-11T12:32:34.688" v="16" actId="20577"/>
          <ac:spMkLst>
            <pc:docMk/>
            <pc:sldMk cId="3296057957" sldId="308"/>
            <ac:spMk id="6" creationId="{00000000-0000-0000-0000-000000000000}"/>
          </ac:spMkLst>
        </pc:spChg>
        <pc:picChg chg="del">
          <ac:chgData name="Lucas Cosas" userId="4275685e-c962-4583-b080-2e157b601b27" providerId="ADAL" clId="{6CA46306-657B-4EA0-AE71-DCC52E0D4346}" dt="2019-11-11T12:32:22.906" v="4" actId="478"/>
          <ac:picMkLst>
            <pc:docMk/>
            <pc:sldMk cId="3296057957" sldId="308"/>
            <ac:picMk id="8" creationId="{00000000-0000-0000-0000-000000000000}"/>
          </ac:picMkLst>
        </pc:picChg>
        <pc:picChg chg="add mod">
          <ac:chgData name="Lucas Cosas" userId="4275685e-c962-4583-b080-2e157b601b27" providerId="ADAL" clId="{6CA46306-657B-4EA0-AE71-DCC52E0D4346}" dt="2019-11-11T12:32:29.609" v="10" actId="1076"/>
          <ac:picMkLst>
            <pc:docMk/>
            <pc:sldMk cId="3296057957" sldId="308"/>
            <ac:picMk id="6146" creationId="{6D7AE9BA-EA11-4D1B-B23E-B612972E88AD}"/>
          </ac:picMkLst>
        </pc:picChg>
      </pc:sldChg>
      <pc:sldChg chg="add del">
        <pc:chgData name="Lucas Cosas" userId="4275685e-c962-4583-b080-2e157b601b27" providerId="ADAL" clId="{6CA46306-657B-4EA0-AE71-DCC52E0D4346}" dt="2019-11-11T12:45:18.075" v="153" actId="2696"/>
        <pc:sldMkLst>
          <pc:docMk/>
          <pc:sldMk cId="799935252" sldId="324"/>
        </pc:sldMkLst>
      </pc:sldChg>
      <pc:sldChg chg="addSp delSp modSp add del ord setBg">
        <pc:chgData name="Lucas Cosas" userId="4275685e-c962-4583-b080-2e157b601b27" providerId="ADAL" clId="{6CA46306-657B-4EA0-AE71-DCC52E0D4346}" dt="2019-11-11T13:40:33.318" v="697"/>
        <pc:sldMkLst>
          <pc:docMk/>
          <pc:sldMk cId="1409507717" sldId="436"/>
        </pc:sldMkLst>
        <pc:spChg chg="add del mod">
          <ac:chgData name="Lucas Cosas" userId="4275685e-c962-4583-b080-2e157b601b27" providerId="ADAL" clId="{6CA46306-657B-4EA0-AE71-DCC52E0D4346}" dt="2019-11-11T13:38:22.363" v="674" actId="478"/>
          <ac:spMkLst>
            <pc:docMk/>
            <pc:sldMk cId="1409507717" sldId="436"/>
            <ac:spMk id="7" creationId="{00000000-0000-0000-0000-000000000000}"/>
          </ac:spMkLst>
        </pc:spChg>
        <pc:spChg chg="mod">
          <ac:chgData name="Lucas Cosas" userId="4275685e-c962-4583-b080-2e157b601b27" providerId="ADAL" clId="{6CA46306-657B-4EA0-AE71-DCC52E0D4346}" dt="2019-11-11T13:33:42.740" v="540" actId="20577"/>
          <ac:spMkLst>
            <pc:docMk/>
            <pc:sldMk cId="1409507717" sldId="436"/>
            <ac:spMk id="16" creationId="{00000000-0000-0000-0000-000000000000}"/>
          </ac:spMkLst>
        </pc:spChg>
        <pc:spChg chg="mod">
          <ac:chgData name="Lucas Cosas" userId="4275685e-c962-4583-b080-2e157b601b27" providerId="ADAL" clId="{6CA46306-657B-4EA0-AE71-DCC52E0D4346}" dt="2019-11-11T13:33:46.209" v="554" actId="20577"/>
          <ac:spMkLst>
            <pc:docMk/>
            <pc:sldMk cId="1409507717" sldId="436"/>
            <ac:spMk id="17" creationId="{00000000-0000-0000-0000-000000000000}"/>
          </ac:spMkLst>
        </pc:spChg>
        <pc:spChg chg="mod">
          <ac:chgData name="Lucas Cosas" userId="4275685e-c962-4583-b080-2e157b601b27" providerId="ADAL" clId="{6CA46306-657B-4EA0-AE71-DCC52E0D4346}" dt="2019-11-11T13:33:51.042" v="575" actId="20577"/>
          <ac:spMkLst>
            <pc:docMk/>
            <pc:sldMk cId="1409507717" sldId="436"/>
            <ac:spMk id="18" creationId="{00000000-0000-0000-0000-000000000000}"/>
          </ac:spMkLst>
        </pc:spChg>
        <pc:spChg chg="mod">
          <ac:chgData name="Lucas Cosas" userId="4275685e-c962-4583-b080-2e157b601b27" providerId="ADAL" clId="{6CA46306-657B-4EA0-AE71-DCC52E0D4346}" dt="2019-11-11T13:34:02.371" v="622" actId="20577"/>
          <ac:spMkLst>
            <pc:docMk/>
            <pc:sldMk cId="1409507717" sldId="436"/>
            <ac:spMk id="19" creationId="{00000000-0000-0000-0000-000000000000}"/>
          </ac:spMkLst>
        </pc:spChg>
        <pc:spChg chg="mod">
          <ac:chgData name="Lucas Cosas" userId="4275685e-c962-4583-b080-2e157b601b27" providerId="ADAL" clId="{6CA46306-657B-4EA0-AE71-DCC52E0D4346}" dt="2019-11-11T13:38:33.506" v="679" actId="478"/>
          <ac:spMkLst>
            <pc:docMk/>
            <pc:sldMk cId="1409507717" sldId="436"/>
            <ac:spMk id="51" creationId="{00000000-0000-0000-0000-000000000000}"/>
          </ac:spMkLst>
        </pc:spChg>
        <pc:spChg chg="mod">
          <ac:chgData name="Lucas Cosas" userId="4275685e-c962-4583-b080-2e157b601b27" providerId="ADAL" clId="{6CA46306-657B-4EA0-AE71-DCC52E0D4346}" dt="2019-11-11T13:37:36.021" v="673" actId="1036"/>
          <ac:spMkLst>
            <pc:docMk/>
            <pc:sldMk cId="1409507717" sldId="436"/>
            <ac:spMk id="53" creationId="{00000000-0000-0000-0000-000000000000}"/>
          </ac:spMkLst>
        </pc:spChg>
        <pc:spChg chg="del">
          <ac:chgData name="Lucas Cosas" userId="4275685e-c962-4583-b080-2e157b601b27" providerId="ADAL" clId="{6CA46306-657B-4EA0-AE71-DCC52E0D4346}" dt="2019-11-11T13:37:19.931" v="667" actId="478"/>
          <ac:spMkLst>
            <pc:docMk/>
            <pc:sldMk cId="1409507717" sldId="436"/>
            <ac:spMk id="73" creationId="{00000000-0000-0000-0000-000000000000}"/>
          </ac:spMkLst>
        </pc:spChg>
        <pc:spChg chg="add mod">
          <ac:chgData name="Lucas Cosas" userId="4275685e-c962-4583-b080-2e157b601b27" providerId="ADAL" clId="{6CA46306-657B-4EA0-AE71-DCC52E0D4346}" dt="2019-11-11T13:37:12.071" v="662" actId="164"/>
          <ac:spMkLst>
            <pc:docMk/>
            <pc:sldMk cId="1409507717" sldId="436"/>
            <ac:spMk id="75" creationId="{30726E91-A62F-4894-B26A-1D36D8718B45}"/>
          </ac:spMkLst>
        </pc:spChg>
        <pc:grpChg chg="mod">
          <ac:chgData name="Lucas Cosas" userId="4275685e-c962-4583-b080-2e157b601b27" providerId="ADAL" clId="{6CA46306-657B-4EA0-AE71-DCC52E0D4346}" dt="2019-11-11T13:33:02.246" v="520" actId="1076"/>
          <ac:grpSpMkLst>
            <pc:docMk/>
            <pc:sldMk cId="1409507717" sldId="436"/>
            <ac:grpSpMk id="3" creationId="{00000000-0000-0000-0000-000000000000}"/>
          </ac:grpSpMkLst>
        </pc:grpChg>
        <pc:grpChg chg="add del mod">
          <ac:chgData name="Lucas Cosas" userId="4275685e-c962-4583-b080-2e157b601b27" providerId="ADAL" clId="{6CA46306-657B-4EA0-AE71-DCC52E0D4346}" dt="2019-11-11T13:38:22.363" v="674" actId="478"/>
          <ac:grpSpMkLst>
            <pc:docMk/>
            <pc:sldMk cId="1409507717" sldId="436"/>
            <ac:grpSpMk id="8"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9" creationId="{00000000-0000-0000-0000-000000000000}"/>
          </ac:grpSpMkLst>
        </pc:grpChg>
        <pc:grpChg chg="del mod">
          <ac:chgData name="Lucas Cosas" userId="4275685e-c962-4583-b080-2e157b601b27" providerId="ADAL" clId="{6CA46306-657B-4EA0-AE71-DCC52E0D4346}" dt="2019-11-11T13:34:42.690" v="635" actId="478"/>
          <ac:grpSpMkLst>
            <pc:docMk/>
            <pc:sldMk cId="1409507717" sldId="436"/>
            <ac:grpSpMk id="10" creationId="{00000000-0000-0000-0000-000000000000}"/>
          </ac:grpSpMkLst>
        </pc:grpChg>
        <pc:grpChg chg="add mod">
          <ac:chgData name="Lucas Cosas" userId="4275685e-c962-4583-b080-2e157b601b27" providerId="ADAL" clId="{6CA46306-657B-4EA0-AE71-DCC52E0D4346}" dt="2019-11-11T13:37:14.193" v="663" actId="1076"/>
          <ac:grpSpMkLst>
            <pc:docMk/>
            <pc:sldMk cId="1409507717" sldId="436"/>
            <ac:grpSpMk id="11" creationId="{1ECE2705-C84F-4504-9186-B9066922521C}"/>
          </ac:grpSpMkLst>
        </pc:grpChg>
        <pc:grpChg chg="mod">
          <ac:chgData name="Lucas Cosas" userId="4275685e-c962-4583-b080-2e157b601b27" providerId="ADAL" clId="{6CA46306-657B-4EA0-AE71-DCC52E0D4346}" dt="2019-11-11T13:33:02.246" v="520" actId="1076"/>
          <ac:grpSpMkLst>
            <pc:docMk/>
            <pc:sldMk cId="1409507717" sldId="436"/>
            <ac:grpSpMk id="21"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2"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3"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4"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5"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6"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7" creationId="{00000000-0000-0000-0000-000000000000}"/>
          </ac:grpSpMkLst>
        </pc:grpChg>
        <pc:grpChg chg="mod">
          <ac:chgData name="Lucas Cosas" userId="4275685e-c962-4583-b080-2e157b601b27" providerId="ADAL" clId="{6CA46306-657B-4EA0-AE71-DCC52E0D4346}" dt="2019-11-11T13:38:33.506" v="679" actId="478"/>
          <ac:grpSpMkLst>
            <pc:docMk/>
            <pc:sldMk cId="1409507717" sldId="436"/>
            <ac:grpSpMk id="43" creationId="{00000000-0000-0000-0000-000000000000}"/>
          </ac:grpSpMkLst>
        </pc:grpChg>
        <pc:grpChg chg="del">
          <ac:chgData name="Lucas Cosas" userId="4275685e-c962-4583-b080-2e157b601b27" providerId="ADAL" clId="{6CA46306-657B-4EA0-AE71-DCC52E0D4346}" dt="2019-11-11T13:37:18.900" v="666" actId="478"/>
          <ac:grpSpMkLst>
            <pc:docMk/>
            <pc:sldMk cId="1409507717" sldId="436"/>
            <ac:grpSpMk id="45"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46" creationId="{00000000-0000-0000-0000-000000000000}"/>
          </ac:grpSpMkLst>
        </pc:grpChg>
        <pc:grpChg chg="del mod">
          <ac:chgData name="Lucas Cosas" userId="4275685e-c962-4583-b080-2e157b601b27" providerId="ADAL" clId="{6CA46306-657B-4EA0-AE71-DCC52E0D4346}" dt="2019-11-11T13:38:33.506" v="679" actId="478"/>
          <ac:grpSpMkLst>
            <pc:docMk/>
            <pc:sldMk cId="1409507717" sldId="436"/>
            <ac:grpSpMk id="47"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48"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4"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5"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6"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7"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8"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9"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60" creationId="{00000000-0000-0000-0000-000000000000}"/>
          </ac:grpSpMkLst>
        </pc:grpChg>
        <pc:grpChg chg="add mod">
          <ac:chgData name="Lucas Cosas" userId="4275685e-c962-4583-b080-2e157b601b27" providerId="ADAL" clId="{6CA46306-657B-4EA0-AE71-DCC52E0D4346}" dt="2019-11-11T13:37:27.734" v="671" actId="1076"/>
          <ac:grpSpMkLst>
            <pc:docMk/>
            <pc:sldMk cId="1409507717" sldId="436"/>
            <ac:grpSpMk id="76" creationId="{99DD076C-C715-4ED4-8F0E-0098AF5286D4}"/>
          </ac:grpSpMkLst>
        </pc:grpChg>
        <pc:picChg chg="del mod">
          <ac:chgData name="Lucas Cosas" userId="4275685e-c962-4583-b080-2e157b601b27" providerId="ADAL" clId="{6CA46306-657B-4EA0-AE71-DCC52E0D4346}" dt="2019-11-11T13:38:22.363" v="674" actId="478"/>
          <ac:picMkLst>
            <pc:docMk/>
            <pc:sldMk cId="1409507717" sldId="436"/>
            <ac:picMk id="40" creationId="{00000000-0000-0000-0000-000000000000}"/>
          </ac:picMkLst>
        </pc:picChg>
        <pc:picChg chg="del">
          <ac:chgData name="Lucas Cosas" userId="4275685e-c962-4583-b080-2e157b601b27" providerId="ADAL" clId="{6CA46306-657B-4EA0-AE71-DCC52E0D4346}" dt="2019-11-11T13:38:33.506" v="679" actId="478"/>
          <ac:picMkLst>
            <pc:docMk/>
            <pc:sldMk cId="1409507717" sldId="436"/>
            <ac:picMk id="52" creationId="{00000000-0000-0000-0000-000000000000}"/>
          </ac:picMkLst>
        </pc:picChg>
        <pc:picChg chg="del">
          <ac:chgData name="Lucas Cosas" userId="4275685e-c962-4583-b080-2e157b601b27" providerId="ADAL" clId="{6CA46306-657B-4EA0-AE71-DCC52E0D4346}" dt="2019-11-11T13:37:18.900" v="666" actId="478"/>
          <ac:picMkLst>
            <pc:docMk/>
            <pc:sldMk cId="1409507717" sldId="436"/>
            <ac:picMk id="74" creationId="{00000000-0000-0000-0000-000000000000}"/>
          </ac:picMkLst>
        </pc:picChg>
        <pc:picChg chg="add del mod">
          <ac:chgData name="Lucas Cosas" userId="4275685e-c962-4583-b080-2e157b601b27" providerId="ADAL" clId="{6CA46306-657B-4EA0-AE71-DCC52E0D4346}" dt="2019-11-11T13:36:47.932" v="652" actId="478"/>
          <ac:picMkLst>
            <pc:docMk/>
            <pc:sldMk cId="1409507717" sldId="436"/>
            <ac:picMk id="7170" creationId="{93EA4805-9145-465A-9CB7-1430598FE755}"/>
          </ac:picMkLst>
        </pc:picChg>
        <pc:picChg chg="add mod">
          <ac:chgData name="Lucas Cosas" userId="4275685e-c962-4583-b080-2e157b601b27" providerId="ADAL" clId="{6CA46306-657B-4EA0-AE71-DCC52E0D4346}" dt="2019-11-11T13:37:12.071" v="662" actId="164"/>
          <ac:picMkLst>
            <pc:docMk/>
            <pc:sldMk cId="1409507717" sldId="436"/>
            <ac:picMk id="7172" creationId="{BFE80674-8AB5-4E3E-B330-3C8DFA1F6BBF}"/>
          </ac:picMkLst>
        </pc:picChg>
        <pc:picChg chg="add mod">
          <ac:chgData name="Lucas Cosas" userId="4275685e-c962-4583-b080-2e157b601b27" providerId="ADAL" clId="{6CA46306-657B-4EA0-AE71-DCC52E0D4346}" dt="2019-11-11T13:38:48.923" v="688" actId="1038"/>
          <ac:picMkLst>
            <pc:docMk/>
            <pc:sldMk cId="1409507717" sldId="436"/>
            <ac:picMk id="7174" creationId="{B2931FD9-2C02-4396-A127-8D702FBE3325}"/>
          </ac:picMkLst>
        </pc:picChg>
        <pc:picChg chg="add mod">
          <ac:chgData name="Lucas Cosas" userId="4275685e-c962-4583-b080-2e157b601b27" providerId="ADAL" clId="{6CA46306-657B-4EA0-AE71-DCC52E0D4346}" dt="2019-11-11T13:38:45.455" v="686" actId="1076"/>
          <ac:picMkLst>
            <pc:docMk/>
            <pc:sldMk cId="1409507717" sldId="436"/>
            <ac:picMk id="7176" creationId="{04AB4255-429E-42E8-9014-E002EAF8C8FE}"/>
          </ac:picMkLst>
        </pc:picChg>
      </pc:sldChg>
      <pc:sldChg chg="addSp delSp modSp">
        <pc:chgData name="Lucas Cosas" userId="4275685e-c962-4583-b080-2e157b601b27" providerId="ADAL" clId="{6CA46306-657B-4EA0-AE71-DCC52E0D4346}" dt="2019-11-11T12:45:10.358" v="150" actId="1035"/>
        <pc:sldMkLst>
          <pc:docMk/>
          <pc:sldMk cId="722905402" sldId="1122"/>
        </pc:sldMkLst>
        <pc:spChg chg="mod">
          <ac:chgData name="Lucas Cosas" userId="4275685e-c962-4583-b080-2e157b601b27" providerId="ADAL" clId="{6CA46306-657B-4EA0-AE71-DCC52E0D4346}" dt="2019-11-11T12:44:38.571" v="136" actId="1036"/>
          <ac:spMkLst>
            <pc:docMk/>
            <pc:sldMk cId="722905402" sldId="1122"/>
            <ac:spMk id="7" creationId="{97D5DBD8-BF33-40AF-B21B-EEE85F106059}"/>
          </ac:spMkLst>
        </pc:spChg>
        <pc:spChg chg="mod">
          <ac:chgData name="Lucas Cosas" userId="4275685e-c962-4583-b080-2e157b601b27" providerId="ADAL" clId="{6CA46306-657B-4EA0-AE71-DCC52E0D4346}" dt="2019-11-11T12:45:03.989" v="148" actId="1035"/>
          <ac:spMkLst>
            <pc:docMk/>
            <pc:sldMk cId="722905402" sldId="1122"/>
            <ac:spMk id="47" creationId="{C6C8ED6C-0C81-4729-A190-BEF2E3AA5F5F}"/>
          </ac:spMkLst>
        </pc:spChg>
        <pc:spChg chg="mod">
          <ac:chgData name="Lucas Cosas" userId="4275685e-c962-4583-b080-2e157b601b27" providerId="ADAL" clId="{6CA46306-657B-4EA0-AE71-DCC52E0D4346}" dt="2019-11-11T12:42:59.129" v="63" actId="1076"/>
          <ac:spMkLst>
            <pc:docMk/>
            <pc:sldMk cId="722905402" sldId="1122"/>
            <ac:spMk id="48" creationId="{137E94A2-3EDC-46C3-BC9B-0B80D221D8BD}"/>
          </ac:spMkLst>
        </pc:spChg>
        <pc:spChg chg="mod">
          <ac:chgData name="Lucas Cosas" userId="4275685e-c962-4583-b080-2e157b601b27" providerId="ADAL" clId="{6CA46306-657B-4EA0-AE71-DCC52E0D4346}" dt="2019-11-11T12:45:03.989" v="148" actId="1035"/>
          <ac:spMkLst>
            <pc:docMk/>
            <pc:sldMk cId="722905402" sldId="1122"/>
            <ac:spMk id="49" creationId="{ED298474-7361-4499-A390-2E6EEB112E07}"/>
          </ac:spMkLst>
        </pc:spChg>
        <pc:spChg chg="mod">
          <ac:chgData name="Lucas Cosas" userId="4275685e-c962-4583-b080-2e157b601b27" providerId="ADAL" clId="{6CA46306-657B-4EA0-AE71-DCC52E0D4346}" dt="2019-11-11T12:42:59.129" v="63" actId="1076"/>
          <ac:spMkLst>
            <pc:docMk/>
            <pc:sldMk cId="722905402" sldId="1122"/>
            <ac:spMk id="50" creationId="{DA455580-854D-48E9-9218-2E24EC65DC18}"/>
          </ac:spMkLst>
        </pc:spChg>
        <pc:spChg chg="mod">
          <ac:chgData name="Lucas Cosas" userId="4275685e-c962-4583-b080-2e157b601b27" providerId="ADAL" clId="{6CA46306-657B-4EA0-AE71-DCC52E0D4346}" dt="2019-11-11T12:45:03.989" v="148" actId="1035"/>
          <ac:spMkLst>
            <pc:docMk/>
            <pc:sldMk cId="722905402" sldId="1122"/>
            <ac:spMk id="51" creationId="{55400F43-21D7-4E75-8625-7E2DEC5B3CC0}"/>
          </ac:spMkLst>
        </pc:spChg>
        <pc:spChg chg="mod">
          <ac:chgData name="Lucas Cosas" userId="4275685e-c962-4583-b080-2e157b601b27" providerId="ADAL" clId="{6CA46306-657B-4EA0-AE71-DCC52E0D4346}" dt="2019-11-11T12:43:31.711" v="85"/>
          <ac:spMkLst>
            <pc:docMk/>
            <pc:sldMk cId="722905402" sldId="1122"/>
            <ac:spMk id="52" creationId="{6E87571D-A6E3-4D7C-81ED-A865AC2AA7A4}"/>
          </ac:spMkLst>
        </pc:spChg>
        <pc:spChg chg="mod">
          <ac:chgData name="Lucas Cosas" userId="4275685e-c962-4583-b080-2e157b601b27" providerId="ADAL" clId="{6CA46306-657B-4EA0-AE71-DCC52E0D4346}" dt="2019-11-11T12:44:38.571" v="136" actId="1036"/>
          <ac:spMkLst>
            <pc:docMk/>
            <pc:sldMk cId="722905402" sldId="1122"/>
            <ac:spMk id="53" creationId="{779E1B97-3959-48D9-BEFD-1661A0000270}"/>
          </ac:spMkLst>
        </pc:spChg>
        <pc:spChg chg="mod">
          <ac:chgData name="Lucas Cosas" userId="4275685e-c962-4583-b080-2e157b601b27" providerId="ADAL" clId="{6CA46306-657B-4EA0-AE71-DCC52E0D4346}" dt="2019-11-11T12:44:38.571" v="136" actId="1036"/>
          <ac:spMkLst>
            <pc:docMk/>
            <pc:sldMk cId="722905402" sldId="1122"/>
            <ac:spMk id="54" creationId="{19E032FE-3C47-440F-A64E-55626B22BD22}"/>
          </ac:spMkLst>
        </pc:spChg>
        <pc:spChg chg="add mod">
          <ac:chgData name="Lucas Cosas" userId="4275685e-c962-4583-b080-2e157b601b27" providerId="ADAL" clId="{6CA46306-657B-4EA0-AE71-DCC52E0D4346}" dt="2019-11-11T12:45:10.358" v="150" actId="1035"/>
          <ac:spMkLst>
            <pc:docMk/>
            <pc:sldMk cId="722905402" sldId="1122"/>
            <ac:spMk id="56" creationId="{2D689BAC-E645-4C57-BEC7-F3323C6756DB}"/>
          </ac:spMkLst>
        </pc:spChg>
        <pc:spChg chg="add mod">
          <ac:chgData name="Lucas Cosas" userId="4275685e-c962-4583-b080-2e157b601b27" providerId="ADAL" clId="{6CA46306-657B-4EA0-AE71-DCC52E0D4346}" dt="2019-11-11T12:45:10.358" v="150" actId="1035"/>
          <ac:spMkLst>
            <pc:docMk/>
            <pc:sldMk cId="722905402" sldId="1122"/>
            <ac:spMk id="57" creationId="{E930095F-B357-4471-AB9E-7153CD19C586}"/>
          </ac:spMkLst>
        </pc:spChg>
        <pc:spChg chg="mod">
          <ac:chgData name="Lucas Cosas" userId="4275685e-c962-4583-b080-2e157b601b27" providerId="ADAL" clId="{6CA46306-657B-4EA0-AE71-DCC52E0D4346}" dt="2019-11-11T12:44:38.571" v="136" actId="1036"/>
          <ac:spMkLst>
            <pc:docMk/>
            <pc:sldMk cId="722905402" sldId="1122"/>
            <ac:spMk id="58" creationId="{349BBB51-A5B2-4525-8593-1863DC535B09}"/>
          </ac:spMkLst>
        </pc:spChg>
        <pc:spChg chg="mod">
          <ac:chgData name="Lucas Cosas" userId="4275685e-c962-4583-b080-2e157b601b27" providerId="ADAL" clId="{6CA46306-657B-4EA0-AE71-DCC52E0D4346}" dt="2019-11-11T12:44:38.571" v="136" actId="1036"/>
          <ac:spMkLst>
            <pc:docMk/>
            <pc:sldMk cId="722905402" sldId="1122"/>
            <ac:spMk id="59" creationId="{BC26ACB5-AF04-4AAD-9C22-DA348F25FA2D}"/>
          </ac:spMkLst>
        </pc:spChg>
        <pc:spChg chg="mod">
          <ac:chgData name="Lucas Cosas" userId="4275685e-c962-4583-b080-2e157b601b27" providerId="ADAL" clId="{6CA46306-657B-4EA0-AE71-DCC52E0D4346}" dt="2019-11-11T12:44:38.571" v="136" actId="1036"/>
          <ac:spMkLst>
            <pc:docMk/>
            <pc:sldMk cId="722905402" sldId="1122"/>
            <ac:spMk id="60" creationId="{C915886C-0B3C-4721-8ACF-57A745F3B503}"/>
          </ac:spMkLst>
        </pc:spChg>
        <pc:spChg chg="mod">
          <ac:chgData name="Lucas Cosas" userId="4275685e-c962-4583-b080-2e157b601b27" providerId="ADAL" clId="{6CA46306-657B-4EA0-AE71-DCC52E0D4346}" dt="2019-11-11T12:44:38.571" v="136" actId="1036"/>
          <ac:spMkLst>
            <pc:docMk/>
            <pc:sldMk cId="722905402" sldId="1122"/>
            <ac:spMk id="61" creationId="{EEFC37CE-28CE-44E7-90DA-65F08E1FB12E}"/>
          </ac:spMkLst>
        </pc:spChg>
        <pc:spChg chg="add del">
          <ac:chgData name="Lucas Cosas" userId="4275685e-c962-4583-b080-2e157b601b27" providerId="ADAL" clId="{6CA46306-657B-4EA0-AE71-DCC52E0D4346}" dt="2019-11-11T12:44:01.180" v="110"/>
          <ac:spMkLst>
            <pc:docMk/>
            <pc:sldMk cId="722905402" sldId="1122"/>
            <ac:spMk id="66" creationId="{A74959D3-1432-4F05-B046-5CCF3B553FFC}"/>
          </ac:spMkLst>
        </pc:spChg>
        <pc:spChg chg="add mod">
          <ac:chgData name="Lucas Cosas" userId="4275685e-c962-4583-b080-2e157b601b27" providerId="ADAL" clId="{6CA46306-657B-4EA0-AE71-DCC52E0D4346}" dt="2019-11-11T12:45:10.358" v="150" actId="1035"/>
          <ac:spMkLst>
            <pc:docMk/>
            <pc:sldMk cId="722905402" sldId="1122"/>
            <ac:spMk id="67" creationId="{B57ADFA7-2C96-4CD5-8D13-A4A629284E07}"/>
          </ac:spMkLst>
        </pc:spChg>
        <pc:spChg chg="add del mod">
          <ac:chgData name="Lucas Cosas" userId="4275685e-c962-4583-b080-2e157b601b27" providerId="ADAL" clId="{6CA46306-657B-4EA0-AE71-DCC52E0D4346}" dt="2019-11-11T12:44:17.391" v="124"/>
          <ac:spMkLst>
            <pc:docMk/>
            <pc:sldMk cId="722905402" sldId="1122"/>
            <ac:spMk id="68" creationId="{9B9AACA0-F6DB-4FEF-BB58-54122A0E8813}"/>
          </ac:spMkLst>
        </pc:spChg>
        <pc:spChg chg="add del">
          <ac:chgData name="Lucas Cosas" userId="4275685e-c962-4583-b080-2e157b601b27" providerId="ADAL" clId="{6CA46306-657B-4EA0-AE71-DCC52E0D4346}" dt="2019-11-11T12:44:19.957" v="126"/>
          <ac:spMkLst>
            <pc:docMk/>
            <pc:sldMk cId="722905402" sldId="1122"/>
            <ac:spMk id="69" creationId="{F6F0D3D3-DFB8-487C-97C4-E20CAD210DDE}"/>
          </ac:spMkLst>
        </pc:spChg>
        <pc:spChg chg="add mod">
          <ac:chgData name="Lucas Cosas" userId="4275685e-c962-4583-b080-2e157b601b27" providerId="ADAL" clId="{6CA46306-657B-4EA0-AE71-DCC52E0D4346}" dt="2019-11-11T12:45:10.358" v="150" actId="1035"/>
          <ac:spMkLst>
            <pc:docMk/>
            <pc:sldMk cId="722905402" sldId="1122"/>
            <ac:spMk id="70" creationId="{97F17C4D-4B97-42FA-8A7B-63F8AB9AE72D}"/>
          </ac:spMkLst>
        </pc:spChg>
        <pc:spChg chg="del">
          <ac:chgData name="Lucas Cosas" userId="4275685e-c962-4583-b080-2e157b601b27" providerId="ADAL" clId="{6CA46306-657B-4EA0-AE71-DCC52E0D4346}" dt="2019-11-11T12:42:44.047" v="57" actId="478"/>
          <ac:spMkLst>
            <pc:docMk/>
            <pc:sldMk cId="722905402" sldId="1122"/>
            <ac:spMk id="113" creationId="{98AA632B-DA2B-4D74-BB10-AB55E95FDB24}"/>
          </ac:spMkLst>
        </pc:spChg>
        <pc:spChg chg="mod">
          <ac:chgData name="Lucas Cosas" userId="4275685e-c962-4583-b080-2e157b601b27" providerId="ADAL" clId="{6CA46306-657B-4EA0-AE71-DCC52E0D4346}" dt="2019-11-11T12:45:03.989" v="148" actId="1035"/>
          <ac:spMkLst>
            <pc:docMk/>
            <pc:sldMk cId="722905402" sldId="1122"/>
            <ac:spMk id="114" creationId="{0C843FD0-0D7C-4448-B030-46D5DC1C21C0}"/>
          </ac:spMkLst>
        </pc:spChg>
        <pc:spChg chg="del">
          <ac:chgData name="Lucas Cosas" userId="4275685e-c962-4583-b080-2e157b601b27" providerId="ADAL" clId="{6CA46306-657B-4EA0-AE71-DCC52E0D4346}" dt="2019-11-11T12:42:42.913" v="56" actId="478"/>
          <ac:spMkLst>
            <pc:docMk/>
            <pc:sldMk cId="722905402" sldId="1122"/>
            <ac:spMk id="115" creationId="{BECF127C-709F-4CA4-A574-41416AFD91AA}"/>
          </ac:spMkLst>
        </pc:spChg>
        <pc:spChg chg="mod">
          <ac:chgData name="Lucas Cosas" userId="4275685e-c962-4583-b080-2e157b601b27" providerId="ADAL" clId="{6CA46306-657B-4EA0-AE71-DCC52E0D4346}" dt="2019-11-11T12:44:38.571" v="136" actId="1036"/>
          <ac:spMkLst>
            <pc:docMk/>
            <pc:sldMk cId="722905402" sldId="1122"/>
            <ac:spMk id="116" creationId="{177A6669-3961-4412-9963-3E52821962FE}"/>
          </ac:spMkLst>
        </pc:spChg>
        <pc:spChg chg="del">
          <ac:chgData name="Lucas Cosas" userId="4275685e-c962-4583-b080-2e157b601b27" providerId="ADAL" clId="{6CA46306-657B-4EA0-AE71-DCC52E0D4346}" dt="2019-11-11T12:42:44.517" v="58" actId="478"/>
          <ac:spMkLst>
            <pc:docMk/>
            <pc:sldMk cId="722905402" sldId="1122"/>
            <ac:spMk id="117" creationId="{20F192D5-BF58-4851-B1C1-EDD93CF6D06A}"/>
          </ac:spMkLst>
        </pc:spChg>
        <pc:spChg chg="mod">
          <ac:chgData name="Lucas Cosas" userId="4275685e-c962-4583-b080-2e157b601b27" providerId="ADAL" clId="{6CA46306-657B-4EA0-AE71-DCC52E0D4346}" dt="2019-11-11T12:42:59.129" v="63" actId="1076"/>
          <ac:spMkLst>
            <pc:docMk/>
            <pc:sldMk cId="722905402" sldId="1122"/>
            <ac:spMk id="118" creationId="{AD3272CA-D13B-4136-9E57-A34BA2923764}"/>
          </ac:spMkLst>
        </pc:spChg>
        <pc:grpChg chg="del">
          <ac:chgData name="Lucas Cosas" userId="4275685e-c962-4583-b080-2e157b601b27" providerId="ADAL" clId="{6CA46306-657B-4EA0-AE71-DCC52E0D4346}" dt="2019-11-11T12:42:41.744" v="55" actId="478"/>
          <ac:grpSpMkLst>
            <pc:docMk/>
            <pc:sldMk cId="722905402" sldId="1122"/>
            <ac:grpSpMk id="82" creationId="{3CDB999D-3F15-4DFE-BD52-D5F14D34D139}"/>
          </ac:grpSpMkLst>
        </pc:grpChg>
        <pc:cxnChg chg="mod">
          <ac:chgData name="Lucas Cosas" userId="4275685e-c962-4583-b080-2e157b601b27" providerId="ADAL" clId="{6CA46306-657B-4EA0-AE71-DCC52E0D4346}" dt="2019-11-11T12:42:59.129" v="63" actId="1076"/>
          <ac:cxnSpMkLst>
            <pc:docMk/>
            <pc:sldMk cId="722905402" sldId="1122"/>
            <ac:cxnSpMk id="55" creationId="{31F12B08-A6F8-401D-8A88-2010623DF1B9}"/>
          </ac:cxnSpMkLst>
        </pc:cxnChg>
        <pc:cxnChg chg="mod">
          <ac:chgData name="Lucas Cosas" userId="4275685e-c962-4583-b080-2e157b601b27" providerId="ADAL" clId="{6CA46306-657B-4EA0-AE71-DCC52E0D4346}" dt="2019-11-11T12:42:59.129" v="63" actId="1076"/>
          <ac:cxnSpMkLst>
            <pc:docMk/>
            <pc:sldMk cId="722905402" sldId="1122"/>
            <ac:cxnSpMk id="62" creationId="{318563BC-37D4-4508-A395-5ED869AD3139}"/>
          </ac:cxnSpMkLst>
        </pc:cxnChg>
        <pc:cxnChg chg="mod">
          <ac:chgData name="Lucas Cosas" userId="4275685e-c962-4583-b080-2e157b601b27" providerId="ADAL" clId="{6CA46306-657B-4EA0-AE71-DCC52E0D4346}" dt="2019-11-11T12:42:59.129" v="63" actId="1076"/>
          <ac:cxnSpMkLst>
            <pc:docMk/>
            <pc:sldMk cId="722905402" sldId="1122"/>
            <ac:cxnSpMk id="63" creationId="{9A884E1E-CA6E-43E1-8B3A-DB59234D6546}"/>
          </ac:cxnSpMkLst>
        </pc:cxnChg>
        <pc:cxnChg chg="add del">
          <ac:chgData name="Lucas Cosas" userId="4275685e-c962-4583-b080-2e157b601b27" providerId="ADAL" clId="{6CA46306-657B-4EA0-AE71-DCC52E0D4346}" dt="2019-11-11T12:42:48.798" v="61" actId="478"/>
          <ac:cxnSpMkLst>
            <pc:docMk/>
            <pc:sldMk cId="722905402" sldId="1122"/>
            <ac:cxnSpMk id="64" creationId="{4ABA2F01-DBB3-466D-8052-868386199EB4}"/>
          </ac:cxnSpMkLst>
        </pc:cxnChg>
        <pc:cxnChg chg="mod">
          <ac:chgData name="Lucas Cosas" userId="4275685e-c962-4583-b080-2e157b601b27" providerId="ADAL" clId="{6CA46306-657B-4EA0-AE71-DCC52E0D4346}" dt="2019-11-11T12:42:59.129" v="63" actId="1076"/>
          <ac:cxnSpMkLst>
            <pc:docMk/>
            <pc:sldMk cId="722905402" sldId="1122"/>
            <ac:cxnSpMk id="65" creationId="{64CE6CD7-30A6-4BB8-BE3C-03D62C4D0B75}"/>
          </ac:cxnSpMkLst>
        </pc:cxnChg>
      </pc:sldChg>
      <pc:sldChg chg="addSp delSp modSp">
        <pc:chgData name="Lucas Cosas" userId="4275685e-c962-4583-b080-2e157b601b27" providerId="ADAL" clId="{6CA46306-657B-4EA0-AE71-DCC52E0D4346}" dt="2019-11-11T13:15:16.141" v="509" actId="113"/>
        <pc:sldMkLst>
          <pc:docMk/>
          <pc:sldMk cId="3542385360" sldId="1131"/>
        </pc:sldMkLst>
        <pc:spChg chg="mod">
          <ac:chgData name="Lucas Cosas" userId="4275685e-c962-4583-b080-2e157b601b27" providerId="ADAL" clId="{6CA46306-657B-4EA0-AE71-DCC52E0D4346}" dt="2019-11-11T13:15:11.770" v="508" actId="14100"/>
          <ac:spMkLst>
            <pc:docMk/>
            <pc:sldMk cId="3542385360" sldId="1131"/>
            <ac:spMk id="2" creationId="{0BE19F4C-294B-4D81-95B2-F99E7B221BD5}"/>
          </ac:spMkLst>
        </pc:spChg>
        <pc:spChg chg="del">
          <ac:chgData name="Lucas Cosas" userId="4275685e-c962-4583-b080-2e157b601b27" providerId="ADAL" clId="{6CA46306-657B-4EA0-AE71-DCC52E0D4346}" dt="2019-11-11T12:45:30.824" v="156" actId="478"/>
          <ac:spMkLst>
            <pc:docMk/>
            <pc:sldMk cId="3542385360" sldId="1131"/>
            <ac:spMk id="3" creationId="{5465E439-E68B-4266-81E9-225EC84E055D}"/>
          </ac:spMkLst>
        </pc:spChg>
        <pc:spChg chg="add mod">
          <ac:chgData name="Lucas Cosas" userId="4275685e-c962-4583-b080-2e157b601b27" providerId="ADAL" clId="{6CA46306-657B-4EA0-AE71-DCC52E0D4346}" dt="2019-11-11T13:15:16.141" v="509" actId="113"/>
          <ac:spMkLst>
            <pc:docMk/>
            <pc:sldMk cId="3542385360" sldId="1131"/>
            <ac:spMk id="5" creationId="{74B75DA7-FE35-48FD-97BA-C6B576964654}"/>
          </ac:spMkLst>
        </pc:spChg>
      </pc:sldChg>
      <pc:sldChg chg="addSp delSp modSp add del ord">
        <pc:chgData name="Lucas Cosas" userId="4275685e-c962-4583-b080-2e157b601b27" providerId="ADAL" clId="{6CA46306-657B-4EA0-AE71-DCC52E0D4346}" dt="2019-11-11T13:40:46.333" v="698" actId="2696"/>
        <pc:sldMkLst>
          <pc:docMk/>
          <pc:sldMk cId="1047521257" sldId="1132"/>
        </pc:sldMkLst>
        <pc:spChg chg="add mod">
          <ac:chgData name="Lucas Cosas" userId="4275685e-c962-4583-b080-2e157b601b27" providerId="ADAL" clId="{6CA46306-657B-4EA0-AE71-DCC52E0D4346}" dt="2019-11-11T13:13:09.748" v="364" actId="20577"/>
          <ac:spMkLst>
            <pc:docMk/>
            <pc:sldMk cId="1047521257" sldId="1132"/>
            <ac:spMk id="2" creationId="{A234DF1F-89F9-4C9E-9F9A-D32F0C3552E4}"/>
          </ac:spMkLst>
        </pc:spChg>
        <pc:picChg chg="del">
          <ac:chgData name="Lucas Cosas" userId="4275685e-c962-4583-b080-2e157b601b27" providerId="ADAL" clId="{6CA46306-657B-4EA0-AE71-DCC52E0D4346}" dt="2019-11-11T13:22:09.969" v="512"/>
          <ac:picMkLst>
            <pc:docMk/>
            <pc:sldMk cId="1047521257" sldId="1132"/>
            <ac:picMk id="3" creationId="{96725B0B-1954-4B12-9E6B-04411C7F8921}"/>
          </ac:picMkLst>
        </pc:picChg>
      </pc:sldChg>
      <pc:sldChg chg="add del">
        <pc:chgData name="Lucas Cosas" userId="4275685e-c962-4583-b080-2e157b601b27" providerId="ADAL" clId="{6CA46306-657B-4EA0-AE71-DCC52E0D4346}" dt="2019-11-11T13:12:32.629" v="278" actId="2696"/>
        <pc:sldMkLst>
          <pc:docMk/>
          <pc:sldMk cId="3489918188" sldId="1132"/>
        </pc:sldMkLst>
      </pc:sldChg>
      <pc:sldChg chg="add del ord">
        <pc:chgData name="Lucas Cosas" userId="4275685e-c962-4583-b080-2e157b601b27" providerId="ADAL" clId="{6CA46306-657B-4EA0-AE71-DCC52E0D4346}" dt="2019-11-11T12:34:53.587" v="19" actId="2696"/>
        <pc:sldMkLst>
          <pc:docMk/>
          <pc:sldMk cId="34356337" sldId="2394"/>
        </pc:sldMkLst>
      </pc:sldChg>
      <pc:sldChg chg="modSp add del setBg modAnim">
        <pc:chgData name="Lucas Cosas" userId="4275685e-c962-4583-b080-2e157b601b27" providerId="ADAL" clId="{6CA46306-657B-4EA0-AE71-DCC52E0D4346}" dt="2019-11-11T13:43:53.895" v="722" actId="20577"/>
        <pc:sldMkLst>
          <pc:docMk/>
          <pc:sldMk cId="2201566731" sldId="11635"/>
        </pc:sldMkLst>
        <pc:spChg chg="mod">
          <ac:chgData name="Lucas Cosas" userId="4275685e-c962-4583-b080-2e157b601b27" providerId="ADAL" clId="{6CA46306-657B-4EA0-AE71-DCC52E0D4346}" dt="2019-11-11T13:43:53.895" v="722" actId="20577"/>
          <ac:spMkLst>
            <pc:docMk/>
            <pc:sldMk cId="2201566731" sldId="11635"/>
            <ac:spMk id="76" creationId="{49C522D0-AE9A-4512-90D3-6AE529BE6F4A}"/>
          </ac:spMkLst>
        </pc:spChg>
      </pc:sldChg>
      <pc:sldChg chg="modSp add del ord setBg">
        <pc:chgData name="Lucas Cosas" userId="4275685e-c962-4583-b080-2e157b601b27" providerId="ADAL" clId="{6CA46306-657B-4EA0-AE71-DCC52E0D4346}" dt="2019-11-11T13:48:19.252" v="752" actId="2696"/>
        <pc:sldMkLst>
          <pc:docMk/>
          <pc:sldMk cId="3484938058" sldId="11636"/>
        </pc:sldMkLst>
        <pc:spChg chg="mod">
          <ac:chgData name="Lucas Cosas" userId="4275685e-c962-4583-b080-2e157b601b27" providerId="ADAL" clId="{6CA46306-657B-4EA0-AE71-DCC52E0D4346}" dt="2019-11-11T13:44:04.782" v="727" actId="20577"/>
          <ac:spMkLst>
            <pc:docMk/>
            <pc:sldMk cId="3484938058" sldId="11636"/>
            <ac:spMk id="2" creationId="{00000000-0000-0000-0000-000000000000}"/>
          </ac:spMkLst>
        </pc:spChg>
        <pc:spChg chg="mod">
          <ac:chgData name="Lucas Cosas" userId="4275685e-c962-4583-b080-2e157b601b27" providerId="ADAL" clId="{6CA46306-657B-4EA0-AE71-DCC52E0D4346}" dt="2019-11-11T13:44:32.254" v="729"/>
          <ac:spMkLst>
            <pc:docMk/>
            <pc:sldMk cId="3484938058" sldId="11636"/>
            <ac:spMk id="17" creationId="{00000000-0000-0000-0000-000000000000}"/>
          </ac:spMkLst>
        </pc:spChg>
        <pc:spChg chg="mod">
          <ac:chgData name="Lucas Cosas" userId="4275685e-c962-4583-b080-2e157b601b27" providerId="ADAL" clId="{6CA46306-657B-4EA0-AE71-DCC52E0D4346}" dt="2019-11-11T13:44:16.507" v="728"/>
          <ac:spMkLst>
            <pc:docMk/>
            <pc:sldMk cId="3484938058" sldId="11636"/>
            <ac:spMk id="18" creationId="{00000000-0000-0000-0000-000000000000}"/>
          </ac:spMkLst>
        </pc:spChg>
      </pc:sldChg>
      <pc:sldChg chg="addSp delSp modSp add">
        <pc:chgData name="Lucas Cosas" userId="4275685e-c962-4583-b080-2e157b601b27" providerId="ADAL" clId="{6CA46306-657B-4EA0-AE71-DCC52E0D4346}" dt="2019-11-11T13:46:30.361" v="740" actId="20577"/>
        <pc:sldMkLst>
          <pc:docMk/>
          <pc:sldMk cId="4260420481" sldId="11637"/>
        </pc:sldMkLst>
        <pc:spChg chg="del">
          <ac:chgData name="Lucas Cosas" userId="4275685e-c962-4583-b080-2e157b601b27" providerId="ADAL" clId="{6CA46306-657B-4EA0-AE71-DCC52E0D4346}" dt="2019-11-11T13:46:10.245" v="732" actId="478"/>
          <ac:spMkLst>
            <pc:docMk/>
            <pc:sldMk cId="4260420481" sldId="11637"/>
            <ac:spMk id="2" creationId="{B7A579B7-1E40-47BC-BFB8-807773108FE4}"/>
          </ac:spMkLst>
        </pc:spChg>
        <pc:spChg chg="del">
          <ac:chgData name="Lucas Cosas" userId="4275685e-c962-4583-b080-2e157b601b27" providerId="ADAL" clId="{6CA46306-657B-4EA0-AE71-DCC52E0D4346}" dt="2019-11-11T13:46:11.765" v="734" actId="478"/>
          <ac:spMkLst>
            <pc:docMk/>
            <pc:sldMk cId="4260420481" sldId="11637"/>
            <ac:spMk id="3" creationId="{7E6FB764-33B0-4F8D-A3AD-F3D680A2EF6A}"/>
          </ac:spMkLst>
        </pc:spChg>
        <pc:spChg chg="add mod">
          <ac:chgData name="Lucas Cosas" userId="4275685e-c962-4583-b080-2e157b601b27" providerId="ADAL" clId="{6CA46306-657B-4EA0-AE71-DCC52E0D4346}" dt="2019-11-11T13:46:30.361" v="740" actId="20577"/>
          <ac:spMkLst>
            <pc:docMk/>
            <pc:sldMk cId="4260420481" sldId="11637"/>
            <ac:spMk id="5" creationId="{0E65C91C-3982-47BB-B5EE-6F1827E707CB}"/>
          </ac:spMkLst>
        </pc:spChg>
        <pc:picChg chg="add mod">
          <ac:chgData name="Lucas Cosas" userId="4275685e-c962-4583-b080-2e157b601b27" providerId="ADAL" clId="{6CA46306-657B-4EA0-AE71-DCC52E0D4346}" dt="2019-11-11T13:46:13.333" v="735" actId="1076"/>
          <ac:picMkLst>
            <pc:docMk/>
            <pc:sldMk cId="4260420481" sldId="11637"/>
            <ac:picMk id="4" creationId="{923A01AD-DBF6-4ED7-88C1-47690675016E}"/>
          </ac:picMkLst>
        </pc:picChg>
      </pc:sldChg>
      <pc:sldChg chg="addSp modSp add">
        <pc:chgData name="Lucas Cosas" userId="4275685e-c962-4583-b080-2e157b601b27" providerId="ADAL" clId="{6CA46306-657B-4EA0-AE71-DCC52E0D4346}" dt="2019-11-11T13:47:50.883" v="747" actId="1076"/>
        <pc:sldMkLst>
          <pc:docMk/>
          <pc:sldMk cId="50227438" sldId="11638"/>
        </pc:sldMkLst>
        <pc:spChg chg="mod">
          <ac:chgData name="Lucas Cosas" userId="4275685e-c962-4583-b080-2e157b601b27" providerId="ADAL" clId="{6CA46306-657B-4EA0-AE71-DCC52E0D4346}" dt="2019-11-11T13:47:50.883" v="747" actId="1076"/>
          <ac:spMkLst>
            <pc:docMk/>
            <pc:sldMk cId="50227438" sldId="11638"/>
            <ac:spMk id="2" creationId="{9EFB8B86-692B-45E7-831F-83950013ACED}"/>
          </ac:spMkLst>
        </pc:spChg>
        <pc:picChg chg="add mod">
          <ac:chgData name="Lucas Cosas" userId="4275685e-c962-4583-b080-2e157b601b27" providerId="ADAL" clId="{6CA46306-657B-4EA0-AE71-DCC52E0D4346}" dt="2019-11-11T13:47:36.932" v="743" actId="1076"/>
          <ac:picMkLst>
            <pc:docMk/>
            <pc:sldMk cId="50227438" sldId="11638"/>
            <ac:picMk id="4" creationId="{E64CC003-51F4-40C4-91E7-606110EB42ED}"/>
          </ac:picMkLst>
        </pc:picChg>
      </pc:sldChg>
      <pc:sldChg chg="delSp modSp add setBg">
        <pc:chgData name="Lucas Cosas" userId="4275685e-c962-4583-b080-2e157b601b27" providerId="ADAL" clId="{6CA46306-657B-4EA0-AE71-DCC52E0D4346}" dt="2019-11-11T14:14:19.853" v="851" actId="1076"/>
        <pc:sldMkLst>
          <pc:docMk/>
          <pc:sldMk cId="709601717" sldId="11639"/>
        </pc:sldMkLst>
        <pc:spChg chg="mod">
          <ac:chgData name="Lucas Cosas" userId="4275685e-c962-4583-b080-2e157b601b27" providerId="ADAL" clId="{6CA46306-657B-4EA0-AE71-DCC52E0D4346}" dt="2019-11-11T14:13:58.226" v="831" actId="20577"/>
          <ac:spMkLst>
            <pc:docMk/>
            <pc:sldMk cId="709601717" sldId="11639"/>
            <ac:spMk id="2" creationId="{00000000-0000-0000-0000-000000000000}"/>
          </ac:spMkLst>
        </pc:spChg>
        <pc:spChg chg="mod">
          <ac:chgData name="Lucas Cosas" userId="4275685e-c962-4583-b080-2e157b601b27" providerId="ADAL" clId="{6CA46306-657B-4EA0-AE71-DCC52E0D4346}" dt="2019-11-11T14:14:19.853" v="851" actId="1076"/>
          <ac:spMkLst>
            <pc:docMk/>
            <pc:sldMk cId="709601717" sldId="11639"/>
            <ac:spMk id="7" creationId="{00000000-0000-0000-0000-000000000000}"/>
          </ac:spMkLst>
        </pc:spChg>
        <pc:spChg chg="del">
          <ac:chgData name="Lucas Cosas" userId="4275685e-c962-4583-b080-2e157b601b27" providerId="ADAL" clId="{6CA46306-657B-4EA0-AE71-DCC52E0D4346}" dt="2019-11-11T14:14:01.268" v="833" actId="478"/>
          <ac:spMkLst>
            <pc:docMk/>
            <pc:sldMk cId="709601717" sldId="11639"/>
            <ac:spMk id="16" creationId="{00000000-0000-0000-0000-000000000000}"/>
          </ac:spMkLst>
        </pc:spChg>
        <pc:spChg chg="del">
          <ac:chgData name="Lucas Cosas" userId="4275685e-c962-4583-b080-2e157b601b27" providerId="ADAL" clId="{6CA46306-657B-4EA0-AE71-DCC52E0D4346}" dt="2019-11-11T14:14:02.857" v="835" actId="478"/>
          <ac:spMkLst>
            <pc:docMk/>
            <pc:sldMk cId="709601717" sldId="11639"/>
            <ac:spMk id="17" creationId="{00000000-0000-0000-0000-000000000000}"/>
          </ac:spMkLst>
        </pc:spChg>
        <pc:spChg chg="mod">
          <ac:chgData name="Lucas Cosas" userId="4275685e-c962-4583-b080-2e157b601b27" providerId="ADAL" clId="{6CA46306-657B-4EA0-AE71-DCC52E0D4346}" dt="2019-11-11T14:14:19.853" v="851" actId="1076"/>
          <ac:spMkLst>
            <pc:docMk/>
            <pc:sldMk cId="709601717" sldId="11639"/>
            <ac:spMk id="18" creationId="{00000000-0000-0000-0000-000000000000}"/>
          </ac:spMkLst>
        </pc:spChg>
        <pc:spChg chg="del">
          <ac:chgData name="Lucas Cosas" userId="4275685e-c962-4583-b080-2e157b601b27" providerId="ADAL" clId="{6CA46306-657B-4EA0-AE71-DCC52E0D4346}" dt="2019-11-11T14:13:48.836" v="793" actId="478"/>
          <ac:spMkLst>
            <pc:docMk/>
            <pc:sldMk cId="709601717" sldId="11639"/>
            <ac:spMk id="19" creationId="{00000000-0000-0000-0000-000000000000}"/>
          </ac:spMkLst>
        </pc:spChg>
        <pc:spChg chg="del mod">
          <ac:chgData name="Lucas Cosas" userId="4275685e-c962-4583-b080-2e157b601b27" providerId="ADAL" clId="{6CA46306-657B-4EA0-AE71-DCC52E0D4346}" dt="2019-11-11T14:14:03.241" v="836" actId="478"/>
          <ac:spMkLst>
            <pc:docMk/>
            <pc:sldMk cId="709601717" sldId="11639"/>
            <ac:spMk id="75" creationId="{30726E91-A62F-4894-B26A-1D36D8718B45}"/>
          </ac:spMkLst>
        </pc:spChg>
        <pc:grpChg chg="del">
          <ac:chgData name="Lucas Cosas" userId="4275685e-c962-4583-b080-2e157b601b27" providerId="ADAL" clId="{6CA46306-657B-4EA0-AE71-DCC52E0D4346}" dt="2019-11-11T14:13:59.966" v="832" actId="478"/>
          <ac:grpSpMkLst>
            <pc:docMk/>
            <pc:sldMk cId="709601717" sldId="11639"/>
            <ac:grpSpMk id="3" creationId="{00000000-0000-0000-0000-000000000000}"/>
          </ac:grpSpMkLst>
        </pc:grpChg>
        <pc:grpChg chg="del">
          <ac:chgData name="Lucas Cosas" userId="4275685e-c962-4583-b080-2e157b601b27" providerId="ADAL" clId="{6CA46306-657B-4EA0-AE71-DCC52E0D4346}" dt="2019-11-11T14:13:47.794" v="792" actId="478"/>
          <ac:grpSpMkLst>
            <pc:docMk/>
            <pc:sldMk cId="709601717" sldId="11639"/>
            <ac:grpSpMk id="9" creationId="{00000000-0000-0000-0000-000000000000}"/>
          </ac:grpSpMkLst>
        </pc:grpChg>
        <pc:grpChg chg="del mod">
          <ac:chgData name="Lucas Cosas" userId="4275685e-c962-4583-b080-2e157b601b27" providerId="ADAL" clId="{6CA46306-657B-4EA0-AE71-DCC52E0D4346}" dt="2019-11-11T14:14:02.154" v="834" actId="478"/>
          <ac:grpSpMkLst>
            <pc:docMk/>
            <pc:sldMk cId="709601717" sldId="11639"/>
            <ac:grpSpMk id="11" creationId="{1ECE2705-C84F-4504-9186-B9066922521C}"/>
          </ac:grpSpMkLst>
        </pc:grpChg>
        <pc:picChg chg="del">
          <ac:chgData name="Lucas Cosas" userId="4275685e-c962-4583-b080-2e157b601b27" providerId="ADAL" clId="{6CA46306-657B-4EA0-AE71-DCC52E0D4346}" dt="2019-11-11T14:14:02.154" v="834" actId="478"/>
          <ac:picMkLst>
            <pc:docMk/>
            <pc:sldMk cId="709601717" sldId="11639"/>
            <ac:picMk id="7172" creationId="{BFE80674-8AB5-4E3E-B330-3C8DFA1F6BBF}"/>
          </ac:picMkLst>
        </pc:picChg>
        <pc:picChg chg="mod">
          <ac:chgData name="Lucas Cosas" userId="4275685e-c962-4583-b080-2e157b601b27" providerId="ADAL" clId="{6CA46306-657B-4EA0-AE71-DCC52E0D4346}" dt="2019-11-11T14:14:19.853" v="851" actId="1076"/>
          <ac:picMkLst>
            <pc:docMk/>
            <pc:sldMk cId="709601717" sldId="11639"/>
            <ac:picMk id="7174" creationId="{B2931FD9-2C02-4396-A127-8D702FBE3325}"/>
          </ac:picMkLst>
        </pc:picChg>
      </pc:sldChg>
      <pc:sldChg chg="addSp delSp add del">
        <pc:chgData name="Lucas Cosas" userId="4275685e-c962-4583-b080-2e157b601b27" providerId="ADAL" clId="{6CA46306-657B-4EA0-AE71-DCC52E0D4346}" dt="2019-11-11T13:48:10.849" v="751" actId="2696"/>
        <pc:sldMkLst>
          <pc:docMk/>
          <pc:sldMk cId="958691846" sldId="11639"/>
        </pc:sldMkLst>
        <pc:picChg chg="add del">
          <ac:chgData name="Lucas Cosas" userId="4275685e-c962-4583-b080-2e157b601b27" providerId="ADAL" clId="{6CA46306-657B-4EA0-AE71-DCC52E0D4346}" dt="2019-11-11T13:48:09.201" v="750" actId="478"/>
          <ac:picMkLst>
            <pc:docMk/>
            <pc:sldMk cId="958691846" sldId="11639"/>
            <ac:picMk id="4" creationId="{FCA8A90B-EA54-40EF-87BB-188C7BE78750}"/>
          </ac:picMkLst>
        </pc:picChg>
      </pc:sldChg>
      <pc:sldChg chg="delSp modSp add setBg">
        <pc:chgData name="Lucas Cosas" userId="4275685e-c962-4583-b080-2e157b601b27" providerId="ADAL" clId="{6CA46306-657B-4EA0-AE71-DCC52E0D4346}" dt="2019-11-11T14:15:18.041" v="891" actId="14100"/>
        <pc:sldMkLst>
          <pc:docMk/>
          <pc:sldMk cId="4173498010" sldId="11640"/>
        </pc:sldMkLst>
        <pc:spChg chg="mod">
          <ac:chgData name="Lucas Cosas" userId="4275685e-c962-4583-b080-2e157b601b27" providerId="ADAL" clId="{6CA46306-657B-4EA0-AE71-DCC52E0D4346}" dt="2019-11-11T14:14:55.126" v="863" actId="20577"/>
          <ac:spMkLst>
            <pc:docMk/>
            <pc:sldMk cId="4173498010" sldId="11640"/>
            <ac:spMk id="2" creationId="{00000000-0000-0000-0000-000000000000}"/>
          </ac:spMkLst>
        </pc:spChg>
        <pc:spChg chg="del">
          <ac:chgData name="Lucas Cosas" userId="4275685e-c962-4583-b080-2e157b601b27" providerId="ADAL" clId="{6CA46306-657B-4EA0-AE71-DCC52E0D4346}" dt="2019-11-11T14:15:00.104" v="868" actId="478"/>
          <ac:spMkLst>
            <pc:docMk/>
            <pc:sldMk cId="4173498010" sldId="11640"/>
            <ac:spMk id="7" creationId="{00000000-0000-0000-0000-000000000000}"/>
          </ac:spMkLst>
        </pc:spChg>
        <pc:spChg chg="del">
          <ac:chgData name="Lucas Cosas" userId="4275685e-c962-4583-b080-2e157b601b27" providerId="ADAL" clId="{6CA46306-657B-4EA0-AE71-DCC52E0D4346}" dt="2019-11-11T14:14:58.381" v="865" actId="478"/>
          <ac:spMkLst>
            <pc:docMk/>
            <pc:sldMk cId="4173498010" sldId="11640"/>
            <ac:spMk id="16" creationId="{00000000-0000-0000-0000-000000000000}"/>
          </ac:spMkLst>
        </pc:spChg>
        <pc:spChg chg="mod">
          <ac:chgData name="Lucas Cosas" userId="4275685e-c962-4583-b080-2e157b601b27" providerId="ADAL" clId="{6CA46306-657B-4EA0-AE71-DCC52E0D4346}" dt="2019-11-11T14:15:13.017" v="890" actId="20577"/>
          <ac:spMkLst>
            <pc:docMk/>
            <pc:sldMk cId="4173498010" sldId="11640"/>
            <ac:spMk id="17" creationId="{00000000-0000-0000-0000-000000000000}"/>
          </ac:spMkLst>
        </pc:spChg>
        <pc:spChg chg="del mod">
          <ac:chgData name="Lucas Cosas" userId="4275685e-c962-4583-b080-2e157b601b27" providerId="ADAL" clId="{6CA46306-657B-4EA0-AE71-DCC52E0D4346}" dt="2019-11-11T14:15:00.594" v="869" actId="478"/>
          <ac:spMkLst>
            <pc:docMk/>
            <pc:sldMk cId="4173498010" sldId="11640"/>
            <ac:spMk id="18" creationId="{00000000-0000-0000-0000-000000000000}"/>
          </ac:spMkLst>
        </pc:spChg>
        <pc:spChg chg="del">
          <ac:chgData name="Lucas Cosas" userId="4275685e-c962-4583-b080-2e157b601b27" providerId="ADAL" clId="{6CA46306-657B-4EA0-AE71-DCC52E0D4346}" dt="2019-11-11T14:15:01.746" v="871" actId="478"/>
          <ac:spMkLst>
            <pc:docMk/>
            <pc:sldMk cId="4173498010" sldId="11640"/>
            <ac:spMk id="19" creationId="{00000000-0000-0000-0000-000000000000}"/>
          </ac:spMkLst>
        </pc:spChg>
        <pc:grpChg chg="del">
          <ac:chgData name="Lucas Cosas" userId="4275685e-c962-4583-b080-2e157b601b27" providerId="ADAL" clId="{6CA46306-657B-4EA0-AE71-DCC52E0D4346}" dt="2019-11-11T14:14:57.428" v="864" actId="478"/>
          <ac:grpSpMkLst>
            <pc:docMk/>
            <pc:sldMk cId="4173498010" sldId="11640"/>
            <ac:grpSpMk id="3" creationId="{00000000-0000-0000-0000-000000000000}"/>
          </ac:grpSpMkLst>
        </pc:grpChg>
        <pc:grpChg chg="del">
          <ac:chgData name="Lucas Cosas" userId="4275685e-c962-4583-b080-2e157b601b27" providerId="ADAL" clId="{6CA46306-657B-4EA0-AE71-DCC52E0D4346}" dt="2019-11-11T14:15:01.499" v="870" actId="478"/>
          <ac:grpSpMkLst>
            <pc:docMk/>
            <pc:sldMk cId="4173498010" sldId="11640"/>
            <ac:grpSpMk id="9" creationId="{00000000-0000-0000-0000-000000000000}"/>
          </ac:grpSpMkLst>
        </pc:grpChg>
        <pc:grpChg chg="mod">
          <ac:chgData name="Lucas Cosas" userId="4275685e-c962-4583-b080-2e157b601b27" providerId="ADAL" clId="{6CA46306-657B-4EA0-AE71-DCC52E0D4346}" dt="2019-11-11T14:15:18.041" v="891" actId="14100"/>
          <ac:grpSpMkLst>
            <pc:docMk/>
            <pc:sldMk cId="4173498010" sldId="11640"/>
            <ac:grpSpMk id="11" creationId="{1ECE2705-C84F-4504-9186-B9066922521C}"/>
          </ac:grpSpMkLst>
        </pc:grpChg>
        <pc:picChg chg="del">
          <ac:chgData name="Lucas Cosas" userId="4275685e-c962-4583-b080-2e157b601b27" providerId="ADAL" clId="{6CA46306-657B-4EA0-AE71-DCC52E0D4346}" dt="2019-11-11T14:14:59.274" v="866" actId="478"/>
          <ac:picMkLst>
            <pc:docMk/>
            <pc:sldMk cId="4173498010" sldId="11640"/>
            <ac:picMk id="7174" creationId="{B2931FD9-2C02-4396-A127-8D702FBE3325}"/>
          </ac:picMkLst>
        </pc:picChg>
      </pc:sldChg>
      <pc:sldChg chg="modSp modAnim">
        <pc:chgData name="Lucas Cosas" userId="4275685e-c962-4583-b080-2e157b601b27" providerId="ADAL" clId="{6CA46306-657B-4EA0-AE71-DCC52E0D4346}" dt="2019-11-11T14:19:47.944" v="1214" actId="20577"/>
        <pc:sldMkLst>
          <pc:docMk/>
          <pc:sldMk cId="1698699445" sldId="11641"/>
        </pc:sldMkLst>
        <pc:spChg chg="mod">
          <ac:chgData name="Lucas Cosas" userId="4275685e-c962-4583-b080-2e157b601b27" providerId="ADAL" clId="{6CA46306-657B-4EA0-AE71-DCC52E0D4346}" dt="2019-11-11T14:18:34.755" v="921" actId="20577"/>
          <ac:spMkLst>
            <pc:docMk/>
            <pc:sldMk cId="1698699445" sldId="11641"/>
            <ac:spMk id="6" creationId="{00000000-0000-0000-0000-000000000000}"/>
          </ac:spMkLst>
        </pc:spChg>
        <pc:spChg chg="mod">
          <ac:chgData name="Lucas Cosas" userId="4275685e-c962-4583-b080-2e157b601b27" providerId="ADAL" clId="{6CA46306-657B-4EA0-AE71-DCC52E0D4346}" dt="2019-11-11T14:19:25.920" v="1118" actId="20577"/>
          <ac:spMkLst>
            <pc:docMk/>
            <pc:sldMk cId="1698699445" sldId="11641"/>
            <ac:spMk id="8" creationId="{00000000-0000-0000-0000-000000000000}"/>
          </ac:spMkLst>
        </pc:spChg>
        <pc:spChg chg="mod">
          <ac:chgData name="Lucas Cosas" userId="4275685e-c962-4583-b080-2e157b601b27" providerId="ADAL" clId="{6CA46306-657B-4EA0-AE71-DCC52E0D4346}" dt="2019-11-11T14:18:43.636" v="942" actId="20577"/>
          <ac:spMkLst>
            <pc:docMk/>
            <pc:sldMk cId="1698699445" sldId="11641"/>
            <ac:spMk id="10" creationId="{00000000-0000-0000-0000-000000000000}"/>
          </ac:spMkLst>
        </pc:spChg>
        <pc:spChg chg="mod">
          <ac:chgData name="Lucas Cosas" userId="4275685e-c962-4583-b080-2e157b601b27" providerId="ADAL" clId="{6CA46306-657B-4EA0-AE71-DCC52E0D4346}" dt="2019-11-11T14:19:47.944" v="1214" actId="20577"/>
          <ac:spMkLst>
            <pc:docMk/>
            <pc:sldMk cId="1698699445" sldId="11641"/>
            <ac:spMk id="11" creationId="{00000000-0000-0000-0000-000000000000}"/>
          </ac:spMkLst>
        </pc:spChg>
      </pc:sldChg>
      <pc:sldMasterChg chg="setBg modSldLayout">
        <pc:chgData name="Lucas Cosas" userId="4275685e-c962-4583-b080-2e157b601b27" providerId="ADAL" clId="{6CA46306-657B-4EA0-AE71-DCC52E0D4346}" dt="2019-11-11T13:40:33.318" v="697"/>
        <pc:sldMasterMkLst>
          <pc:docMk/>
          <pc:sldMasterMk cId="476445883" sldId="2147483648"/>
        </pc:sldMasterMkLst>
        <pc:sldLayoutChg chg="setBg">
          <pc:chgData name="Lucas Cosas" userId="4275685e-c962-4583-b080-2e157b601b27" providerId="ADAL" clId="{6CA46306-657B-4EA0-AE71-DCC52E0D4346}" dt="2019-11-11T13:40:33.318" v="697"/>
          <pc:sldLayoutMkLst>
            <pc:docMk/>
            <pc:sldMasterMk cId="476445883" sldId="2147483648"/>
            <pc:sldLayoutMk cId="37445539" sldId="2147483649"/>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843384834" sldId="2147483650"/>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599598506" sldId="2147483651"/>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644235548" sldId="2147483652"/>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618328574" sldId="2147483653"/>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4001407477" sldId="2147483654"/>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3610559997" sldId="2147483655"/>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2089168748" sldId="2147483656"/>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3197659656" sldId="2147483657"/>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40924960" sldId="2147483658"/>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234765781" sldId="2147483659"/>
          </pc:sldLayoutMkLst>
        </pc:sldLayoutChg>
      </pc:sldMasterChg>
      <pc:sldMasterChg chg="setBg modSldLayout">
        <pc:chgData name="Lucas Cosas" userId="4275685e-c962-4583-b080-2e157b601b27" providerId="ADAL" clId="{6CA46306-657B-4EA0-AE71-DCC52E0D4346}" dt="2019-11-11T13:40:33.318" v="697"/>
        <pc:sldMasterMkLst>
          <pc:docMk/>
          <pc:sldMasterMk cId="1685729809" sldId="2147483660"/>
        </pc:sldMasterMkLst>
        <pc:sldLayoutChg chg="setBg">
          <pc:chgData name="Lucas Cosas" userId="4275685e-c962-4583-b080-2e157b601b27" providerId="ADAL" clId="{6CA46306-657B-4EA0-AE71-DCC52E0D4346}" dt="2019-11-11T13:40:33.318" v="697"/>
          <pc:sldLayoutMkLst>
            <pc:docMk/>
            <pc:sldMasterMk cId="1685729809" sldId="2147483660"/>
            <pc:sldLayoutMk cId="1942822702" sldId="2147483661"/>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963944227" sldId="2147483662"/>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428629754" sldId="2147483663"/>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4262031708" sldId="2147483664"/>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224731403" sldId="2147483665"/>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810683783" sldId="2147483666"/>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1179775149" sldId="2147483667"/>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1015438085" sldId="2147483668"/>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279918548" sldId="2147483669"/>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995023268" sldId="2147483670"/>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1013384074" sldId="2147483671"/>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826183058" sldId="2147483672"/>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888768937" sldId="2147483673"/>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505199619" sldId="2147483674"/>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610539276" sldId="2147483675"/>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958802484" sldId="2147483676"/>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424603175" sldId="2147483677"/>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315125197" sldId="2147483678"/>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56597609" sldId="2147483679"/>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665429572" sldId="2147483680"/>
          </pc:sldLayoutMkLst>
        </pc:sldLayoutChg>
      </pc:sldMasterChg>
      <pc:sldMasterChg chg="setBg modSldLayout">
        <pc:chgData name="Lucas Cosas" userId="4275685e-c962-4583-b080-2e157b601b27" providerId="ADAL" clId="{6CA46306-657B-4EA0-AE71-DCC52E0D4346}" dt="2019-11-11T13:40:33.318" v="697"/>
        <pc:sldMasterMkLst>
          <pc:docMk/>
          <pc:sldMasterMk cId="283831773" sldId="2147483681"/>
        </pc:sldMasterMkLst>
        <pc:sldLayoutChg chg="setBg">
          <pc:chgData name="Lucas Cosas" userId="4275685e-c962-4583-b080-2e157b601b27" providerId="ADAL" clId="{6CA46306-657B-4EA0-AE71-DCC52E0D4346}" dt="2019-11-11T13:40:33.318" v="697"/>
          <pc:sldLayoutMkLst>
            <pc:docMk/>
            <pc:sldMasterMk cId="283831773" sldId="2147483681"/>
            <pc:sldLayoutMk cId="1729222864" sldId="2147483682"/>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30411148" sldId="2147483683"/>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889285764" sldId="2147483684"/>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367657446" sldId="2147483685"/>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590637068" sldId="2147483686"/>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132507224" sldId="2147483687"/>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163345166" sldId="2147483688"/>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444063093" sldId="2147483689"/>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161712827" sldId="2147483690"/>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4211449569" sldId="2147483691"/>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778840879" sldId="2147483692"/>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4254610041" sldId="2147483693"/>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518695709" sldId="2147483694"/>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807877458" sldId="2147483695"/>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685552821" sldId="2147483696"/>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403660561" sldId="2147483697"/>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569065331" sldId="2147483698"/>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612301751" sldId="2147483699"/>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051586897" sldId="2147483700"/>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860676787" sldId="2147483702"/>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815530420" sldId="2147483703"/>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896581217" sldId="2147483704"/>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439259873" sldId="2147483705"/>
          </pc:sldLayoutMkLst>
        </pc:sldLayoutChg>
      </pc:sldMasterChg>
      <pc:sldMasterChg chg="setBg modSldLayout">
        <pc:chgData name="Lucas Cosas" userId="4275685e-c962-4583-b080-2e157b601b27" providerId="ADAL" clId="{6CA46306-657B-4EA0-AE71-DCC52E0D4346}" dt="2019-11-11T13:40:33.318" v="697"/>
        <pc:sldMasterMkLst>
          <pc:docMk/>
          <pc:sldMasterMk cId="1463196479" sldId="2147483706"/>
        </pc:sldMasterMkLst>
        <pc:sldLayoutChg chg="setBg">
          <pc:chgData name="Lucas Cosas" userId="4275685e-c962-4583-b080-2e157b601b27" providerId="ADAL" clId="{6CA46306-657B-4EA0-AE71-DCC52E0D4346}" dt="2019-11-11T13:40:33.318" v="697"/>
          <pc:sldLayoutMkLst>
            <pc:docMk/>
            <pc:sldMasterMk cId="1463196479" sldId="2147483706"/>
            <pc:sldLayoutMk cId="2497331967" sldId="2147483707"/>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128117226" sldId="2147483708"/>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095733975" sldId="2147483709"/>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3349591599" sldId="2147483710"/>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3141055478" sldId="2147483711"/>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781368879" sldId="2147483712"/>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4139770257" sldId="2147483713"/>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299298215" sldId="2147483714"/>
          </pc:sldLayoutMkLst>
        </pc:sldLayoutChg>
      </pc:sldMasterChg>
      <pc:sldMasterChg chg="setBg modSldLayout">
        <pc:chgData name="Lucas Cosas" userId="4275685e-c962-4583-b080-2e157b601b27" providerId="ADAL" clId="{6CA46306-657B-4EA0-AE71-DCC52E0D4346}" dt="2019-11-11T13:40:33.318" v="697"/>
        <pc:sldMasterMkLst>
          <pc:docMk/>
          <pc:sldMasterMk cId="1416017525" sldId="2147483715"/>
        </pc:sldMasterMkLst>
        <pc:sldLayoutChg chg="setBg">
          <pc:chgData name="Lucas Cosas" userId="4275685e-c962-4583-b080-2e157b601b27" providerId="ADAL" clId="{6CA46306-657B-4EA0-AE71-DCC52E0D4346}" dt="2019-11-11T13:40:33.318" v="697"/>
          <pc:sldLayoutMkLst>
            <pc:docMk/>
            <pc:sldMasterMk cId="1416017525" sldId="2147483715"/>
            <pc:sldLayoutMk cId="4135735987" sldId="2147483716"/>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1019968598" sldId="2147483717"/>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1221687951" sldId="2147483718"/>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3285500149" sldId="2147483719"/>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332441771" sldId="2147483720"/>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099184386" sldId="2147483721"/>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4052788884" sldId="2147483722"/>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618781599" sldId="2147483723"/>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617721249" sldId="2147483724"/>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065689033" sldId="2147483725"/>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420933684" sldId="2147483726"/>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3162349242" sldId="2147483727"/>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103258645" sldId="2147483728"/>
          </pc:sldLayoutMkLst>
        </pc:sldLayoutChg>
      </pc:sldMasterChg>
      <pc:sldMasterChg chg="setBg modSldLayout">
        <pc:chgData name="Lucas Cosas" userId="4275685e-c962-4583-b080-2e157b601b27" providerId="ADAL" clId="{6CA46306-657B-4EA0-AE71-DCC52E0D4346}" dt="2019-11-11T13:40:33.318" v="697"/>
        <pc:sldMasterMkLst>
          <pc:docMk/>
          <pc:sldMasterMk cId="2411604508" sldId="2147483729"/>
        </pc:sldMasterMkLst>
        <pc:sldLayoutChg chg="setBg">
          <pc:chgData name="Lucas Cosas" userId="4275685e-c962-4583-b080-2e157b601b27" providerId="ADAL" clId="{6CA46306-657B-4EA0-AE71-DCC52E0D4346}" dt="2019-11-11T13:40:33.318" v="697"/>
          <pc:sldLayoutMkLst>
            <pc:docMk/>
            <pc:sldMasterMk cId="2411604508" sldId="2147483729"/>
            <pc:sldLayoutMk cId="1270826918" sldId="2147483730"/>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619879292" sldId="2147483731"/>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636701737" sldId="2147483732"/>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946686524" sldId="2147483733"/>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621115712" sldId="2147483734"/>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64047062" sldId="2147483735"/>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827211530" sldId="2147483736"/>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281477602" sldId="2147483737"/>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741131364" sldId="2147483738"/>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402934578" sldId="2147483739"/>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08630458" sldId="2147483740"/>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210750788" sldId="2147483741"/>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96145127" sldId="2147483742"/>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553712928" sldId="2147483743"/>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878826728" sldId="2147483744"/>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114690908" sldId="2147483745"/>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384557076" sldId="2147483746"/>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95592926" sldId="2147483747"/>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96013890" sldId="2147483748"/>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639471486" sldId="2147483749"/>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127225890" sldId="2147483750"/>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073744280" sldId="2147483751"/>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956343975" sldId="2147483752"/>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4062974889" sldId="2147483753"/>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514693817" sldId="2147483754"/>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4248795129" sldId="2147483755"/>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969581280" sldId="2147483756"/>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961584003" sldId="214748375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D5961-6C0D-4110-B04F-661374F916E8}" type="datetimeFigureOut">
              <a:rPr lang="en-US" smtClean="0"/>
              <a:t>11/1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086754-32E7-44C0-BDDB-18D2D2446E2B}" type="slidenum">
              <a:rPr lang="en-US" smtClean="0"/>
              <a:t>‹#›</a:t>
            </a:fld>
            <a:endParaRPr lang="en-US"/>
          </a:p>
        </p:txBody>
      </p:sp>
    </p:spTree>
    <p:extLst>
      <p:ext uri="{BB962C8B-B14F-4D97-AF65-F5344CB8AC3E}">
        <p14:creationId xmlns:p14="http://schemas.microsoft.com/office/powerpoint/2010/main" val="4050729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9661C28-09B3-447E-B982-75C48FF74A9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1/2019 9: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45396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900"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229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olidate data from a broad range of sources</a:t>
            </a:r>
          </a:p>
          <a:p>
            <a:endParaRPr lang="en-US" dirty="0"/>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1/2019 9: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41004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780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6705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848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2472" fontAlgn="base">
              <a:lnSpc>
                <a:spcPct val="90000"/>
              </a:lnSpc>
              <a:spcBef>
                <a:spcPct val="0"/>
              </a:spcBef>
              <a:spcAft>
                <a:spcPct val="0"/>
              </a:spcAft>
              <a:buFont typeface="Arial" panose="020B0604020202020204" pitchFamily="34" charset="0"/>
              <a:buNone/>
            </a:pPr>
            <a:endParaRPr lang="en-US"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80247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1/2019 9: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374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1/2019 9: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35762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Desktop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 free tool to download to create and author modern and interactive reports</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 SaaS service to share, collaborate reports &amp; Dashboard and gain insight from your data</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Premium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dd-on dedicated capacity to the Power BI SaaS service </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r>
              <a:rPr lang="en-US" dirty="0"/>
              <a:t>Power BI Report Server – On-premises report serv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Embedded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Embedded analytics APIs for ISVs and Developers</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0003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9DC94B-DB72-488C-A100-9C8F7341285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1/2019 11:1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5952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2336DDF8-592C-42DE-BD55-ECDFE066D8B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694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9DC94B-DB72-488C-A100-9C8F7341285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1/2019 10: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5952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2336DDF8-592C-42DE-BD55-ECDFE066D8B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7320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What is the cloud?</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at is the cloud? </a:t>
            </a:r>
            <a:r>
              <a:rPr lang="en-US" sz="1200" i="1" kern="1200" dirty="0">
                <a:solidFill>
                  <a:schemeClr val="tx1"/>
                </a:solidFill>
                <a:effectLst/>
                <a:latin typeface="+mn-lt"/>
                <a:ea typeface="+mn-ea"/>
                <a:cs typeface="+mn-cs"/>
              </a:rPr>
              <a:t>[go through the definition]</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But what is the cloud, </a:t>
            </a:r>
            <a:r>
              <a:rPr lang="en-US" sz="1200" i="1" kern="1200" dirty="0">
                <a:solidFill>
                  <a:schemeClr val="tx1"/>
                </a:solidFill>
                <a:effectLst/>
                <a:latin typeface="+mn-lt"/>
                <a:ea typeface="+mn-ea"/>
                <a:cs typeface="+mn-cs"/>
              </a:rPr>
              <a:t>really?</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read the blurb]</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cloud isn’t just about bits and bytes, it’s a mindset--it’s a way of transforming your busin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5199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w, if you haven’t looked at Azure in a few months, you may be surprised to see what we have these day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s the high-level map of the class of services that we offer. We have well over 200 services and capabiliti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ll notice we’ve extended to the edge. The ability to run application code in the cloud but also in that seamless, consistent way in the edge is informing our edge investments, whether it be Azure Stack, Azure Sphere, all the way to the </a:t>
            </a:r>
            <a:r>
              <a:rPr lang="en-US" sz="1200" kern="1200" dirty="0" err="1">
                <a:solidFill>
                  <a:schemeClr val="tx1"/>
                </a:solidFill>
                <a:effectLst/>
                <a:latin typeface="+mn-lt"/>
                <a:ea typeface="+mn-ea"/>
                <a:cs typeface="+mn-cs"/>
              </a:rPr>
              <a:t>Hololens</a:t>
            </a:r>
            <a:r>
              <a:rPr lang="en-US" sz="1200" kern="1200" dirty="0">
                <a:solidFill>
                  <a:schemeClr val="tx1"/>
                </a:solidFill>
                <a:effectLst/>
                <a:latin typeface="+mn-lt"/>
                <a:ea typeface="+mn-ea"/>
                <a:cs typeface="+mn-cs"/>
              </a:rPr>
              <a:t> and our Mixed Reality capabilities – these are powerful Edge devices that work in connection with the clou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ll see we have dev tools, </a:t>
            </a:r>
            <a:r>
              <a:rPr lang="en-US" sz="1200" kern="1200" dirty="0" err="1">
                <a:solidFill>
                  <a:schemeClr val="tx1"/>
                </a:solidFill>
                <a:effectLst/>
                <a:latin typeface="+mn-lt"/>
                <a:ea typeface="+mn-ea"/>
                <a:cs typeface="+mn-cs"/>
              </a:rPr>
              <a:t>devOps</a:t>
            </a:r>
            <a:r>
              <a:rPr lang="en-US" sz="1200" kern="1200" dirty="0">
                <a:solidFill>
                  <a:schemeClr val="tx1"/>
                </a:solidFill>
                <a:effectLst/>
                <a:latin typeface="+mn-lt"/>
                <a:ea typeface="+mn-ea"/>
                <a:cs typeface="+mn-cs"/>
              </a:rPr>
              <a:t> and great innovation, to the core infrastructure and PaaS services that we offer.</a:t>
            </a:r>
          </a:p>
          <a:p>
            <a:endParaRPr lang="en-US" sz="1200" i="1"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TRANSITION:</a:t>
            </a:r>
            <a:r>
              <a:rPr lang="en-US" sz="1200" b="1"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verall, this gives you the scope of what Azure as a platform and service can do for you. </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1116882" marR="0" lvl="0" indent="0" algn="l" defTabSz="1786424"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2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1/2019 10:22 AM</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7685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2336DDF8-592C-42DE-BD55-ECDFE066D8B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0086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1/11/2019 9: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339170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200000"/>
              </a:lnSpc>
              <a:spcBef>
                <a:spcPts val="1765"/>
              </a:spcBef>
              <a:buNone/>
            </a:pPr>
            <a:r>
              <a:rPr lang="en-US" dirty="0"/>
              <a:t>Access on-premises</a:t>
            </a:r>
            <a:r>
              <a:rPr lang="en-US" baseline="0" dirty="0"/>
              <a:t> data any way you like</a:t>
            </a:r>
          </a:p>
          <a:p>
            <a:pPr marL="0" indent="0">
              <a:lnSpc>
                <a:spcPct val="200000"/>
              </a:lnSpc>
              <a:spcBef>
                <a:spcPts val="1765"/>
              </a:spcBef>
              <a:buNone/>
            </a:pPr>
            <a:r>
              <a:rPr lang="en-US" baseline="0" dirty="0"/>
              <a:t>Connect to on-premises SSAS mode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D7F55-63DF-4F9F-879D-1317510450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446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379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10B05-6C6F-46EF-B918-D55DD6E1C7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30E6785-097A-4B2C-A0B1-242AFEA2D6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8AD461-BA82-489B-97CC-6A2E9BEC63F6}"/>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5" name="Footer Placeholder 4">
            <a:extLst>
              <a:ext uri="{FF2B5EF4-FFF2-40B4-BE49-F238E27FC236}">
                <a16:creationId xmlns:a16="http://schemas.microsoft.com/office/drawing/2014/main" id="{B3D14813-B338-4DC9-890D-A1F5C8A654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1A937-DEDD-4C93-86F5-ABA691EC1AE6}"/>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37445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EF99C-BDF6-498B-94F0-6B924B69E27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48C3C00-8F66-411D-B5EF-709B835636B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249782-A1CF-4140-81BA-8A0B5623F65D}"/>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5" name="Footer Placeholder 4">
            <a:extLst>
              <a:ext uri="{FF2B5EF4-FFF2-40B4-BE49-F238E27FC236}">
                <a16:creationId xmlns:a16="http://schemas.microsoft.com/office/drawing/2014/main" id="{BC66A4EA-FA81-42AC-AACD-5C3DF21E6E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7EC33B-16B1-433A-9B09-277D8E1A3B4A}"/>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409249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46938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248795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695812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40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b="-50"/>
          <a:stretch/>
        </p:blipFill>
        <p:spPr>
          <a:xfrm>
            <a:off x="0" y="0"/>
            <a:ext cx="12192000" cy="6861387"/>
          </a:xfrm>
          <a:prstGeom prst="rect">
            <a:avLst/>
          </a:prstGeom>
        </p:spPr>
      </p:pic>
      <p:sp>
        <p:nvSpPr>
          <p:cNvPr id="3" name="Rectangle 2"/>
          <p:cNvSpPr/>
          <p:nvPr userDrawn="1"/>
        </p:nvSpPr>
        <p:spPr bwMode="auto">
          <a:xfrm rot="10800000">
            <a:off x="6885705" y="2830286"/>
            <a:ext cx="5306291" cy="4027712"/>
          </a:xfrm>
          <a:prstGeom prst="rect">
            <a:avLst/>
          </a:prstGeom>
          <a:gradFill>
            <a:gsLst>
              <a:gs pos="0">
                <a:schemeClr val="tx1">
                  <a:lumMod val="0"/>
                  <a:alpha val="0"/>
                </a:schemeClr>
              </a:gs>
              <a:gs pos="100000">
                <a:schemeClr val="tx1">
                  <a:lumMod val="0"/>
                  <a:alpha val="47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Rectangle 3"/>
          <p:cNvSpPr/>
          <p:nvPr userDrawn="1"/>
        </p:nvSpPr>
        <p:spPr bwMode="auto">
          <a:xfrm>
            <a:off x="-1" y="0"/>
            <a:ext cx="6885709" cy="6858000"/>
          </a:xfrm>
          <a:prstGeom prst="rect">
            <a:avLst/>
          </a:prstGeom>
          <a:solidFill>
            <a:srgbClr val="0084E5">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5419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9869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771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CE6D68-B633-4914-A94F-4F0007A5FF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94907AA-5CBC-4F6B-BE14-1FFD6A7D19C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87379A-3EC9-4503-93B2-604F6D30857A}"/>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5" name="Footer Placeholder 4">
            <a:extLst>
              <a:ext uri="{FF2B5EF4-FFF2-40B4-BE49-F238E27FC236}">
                <a16:creationId xmlns:a16="http://schemas.microsoft.com/office/drawing/2014/main" id="{A88E3C95-43BA-424D-B018-CEB4E92C2E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05FAA2-8428-4A84-A5D9-A89FC1987A43}"/>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2347657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942822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sp>
        <p:nvSpPr>
          <p:cNvPr id="11" name="Rectangle 10">
            <a:extLst>
              <a:ext uri="{FF2B5EF4-FFF2-40B4-BE49-F238E27FC236}">
                <a16:creationId xmlns:a16="http://schemas.microsoft.com/office/drawing/2014/main" id="{C1BF2564-F324-4D2F-BD31-25730770F6F1}"/>
              </a:ext>
            </a:extLst>
          </p:cNvPr>
          <p:cNvSpPr/>
          <p:nvPr userDrawn="1"/>
        </p:nvSpPr>
        <p:spPr bwMode="auto">
          <a:xfrm>
            <a:off x="-29569" y="-7782"/>
            <a:ext cx="12251139" cy="6873565"/>
          </a:xfrm>
          <a:prstGeom prst="rect">
            <a:avLst/>
          </a:prstGeom>
          <a:solidFill>
            <a:schemeClr val="tx1">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a:gradFill>
                <a:gsLst>
                  <a:gs pos="0">
                    <a:srgbClr val="FFFFFF"/>
                  </a:gs>
                  <a:gs pos="100000">
                    <a:srgbClr val="FFFFFF"/>
                  </a:gs>
                </a:gsLst>
                <a:lin ang="5400000" scaled="0"/>
              </a:gradFill>
              <a:cs typeface="Segoe UI" pitchFamily="34" charset="0"/>
            </a:endParaRPr>
          </a:p>
        </p:txBody>
      </p:sp>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8" name="Picture 7">
            <a:extLst>
              <a:ext uri="{FF2B5EF4-FFF2-40B4-BE49-F238E27FC236}">
                <a16:creationId xmlns:a16="http://schemas.microsoft.com/office/drawing/2014/main" id="{F04341EC-2A69-44AC-8D72-2A5D4C42D9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632" y="470067"/>
            <a:ext cx="1429004" cy="304828"/>
          </a:xfrm>
          <a:prstGeom prst="rect">
            <a:avLst/>
          </a:prstGeom>
        </p:spPr>
      </p:pic>
    </p:spTree>
    <p:extLst>
      <p:ext uri="{BB962C8B-B14F-4D97-AF65-F5344CB8AC3E}">
        <p14:creationId xmlns:p14="http://schemas.microsoft.com/office/powerpoint/2010/main" val="296394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428629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3417" y="0"/>
            <a:ext cx="6858583" cy="6858973"/>
          </a:xfrm>
          <a:prstGeom prst="rect">
            <a:avLst/>
          </a:prstGeom>
        </p:spPr>
      </p:pic>
    </p:spTree>
    <p:extLst>
      <p:ext uri="{BB962C8B-B14F-4D97-AF65-F5344CB8AC3E}">
        <p14:creationId xmlns:p14="http://schemas.microsoft.com/office/powerpoint/2010/main" val="4262031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7314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6837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17977514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154380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563B0-B527-4F55-98EC-A4A383881B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97284E-A7BB-45BA-ABFE-C7FD2F7A8AA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054809-9FA6-42FA-9090-DA82C272F403}"/>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5" name="Footer Placeholder 4">
            <a:extLst>
              <a:ext uri="{FF2B5EF4-FFF2-40B4-BE49-F238E27FC236}">
                <a16:creationId xmlns:a16="http://schemas.microsoft.com/office/drawing/2014/main" id="{84A8E296-0BBE-48F0-91A6-1EDEC4682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DD6F72-F488-44F8-B3F7-97AEAEF23103}"/>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84338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991854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95023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13384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61830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88768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0519961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5392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802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46031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315125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2E87C-9946-4F01-BBA5-88E3741553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40E0AB-B098-49E9-9F7A-E054D64672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D679021-5316-46A2-9C84-8244EFFBA98D}"/>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5" name="Footer Placeholder 4">
            <a:extLst>
              <a:ext uri="{FF2B5EF4-FFF2-40B4-BE49-F238E27FC236}">
                <a16:creationId xmlns:a16="http://schemas.microsoft.com/office/drawing/2014/main" id="{416AA1C2-5D39-438E-94A9-AAF8801528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D5F788-69FC-44BD-B009-3CA43D7036E6}"/>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5995985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6597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802926" cy="899665"/>
          </a:xfrm>
        </p:spPr>
        <p:txBody>
          <a:bodyPr/>
          <a:lstStyle/>
          <a:p>
            <a:r>
              <a:rPr lang="en-US"/>
              <a:t>Click to edit Master title style</a:t>
            </a:r>
          </a:p>
        </p:txBody>
      </p:sp>
      <p:sp>
        <p:nvSpPr>
          <p:cNvPr id="7" name="Text Placeholder 6"/>
          <p:cNvSpPr>
            <a:spLocks noGrp="1"/>
          </p:cNvSpPr>
          <p:nvPr>
            <p:ph type="body" sz="quarter" idx="11"/>
          </p:nvPr>
        </p:nvSpPr>
        <p:spPr>
          <a:xfrm>
            <a:off x="269239" y="1120371"/>
            <a:ext cx="11653522"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6654295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729222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632" y="470067"/>
            <a:ext cx="1423303" cy="305228"/>
          </a:xfrm>
          <a:prstGeom prst="rect">
            <a:avLst/>
          </a:prstGeom>
        </p:spPr>
      </p:pic>
    </p:spTree>
    <p:extLst>
      <p:ext uri="{BB962C8B-B14F-4D97-AF65-F5344CB8AC3E}">
        <p14:creationId xmlns:p14="http://schemas.microsoft.com/office/powerpoint/2010/main" val="3304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88928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3417" y="0"/>
            <a:ext cx="6858583" cy="6858973"/>
          </a:xfrm>
          <a:prstGeom prst="rect">
            <a:avLst/>
          </a:prstGeom>
        </p:spPr>
      </p:pic>
    </p:spTree>
    <p:extLst>
      <p:ext uri="{BB962C8B-B14F-4D97-AF65-F5344CB8AC3E}">
        <p14:creationId xmlns:p14="http://schemas.microsoft.com/office/powerpoint/2010/main" val="1367657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063706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25072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633451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440630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5888E-7A85-4F0D-BA95-9AEB03905F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33B669-A10A-4027-B10B-E17C8C160C8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FE54E4-81C9-47BB-BE55-AEB471D0313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A00FDA-DAA7-41CF-8E69-1EDCFF992B02}"/>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6" name="Footer Placeholder 5">
            <a:extLst>
              <a:ext uri="{FF2B5EF4-FFF2-40B4-BE49-F238E27FC236}">
                <a16:creationId xmlns:a16="http://schemas.microsoft.com/office/drawing/2014/main" id="{EBCA3ED8-4560-4FDF-A3A5-7C358F84B8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8C7AD9-D45E-4DC6-BC44-42A751BAB0F1}"/>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6442355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6171282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1449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8840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46100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8695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0787745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55282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660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906533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612301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18508-81C5-45E2-9CB1-943C8DD29B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7B2395-8504-4E2C-A57C-BB0F777C818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0D127C1-E8D6-4583-86CB-C597EE90C00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D189C9-D064-4BB0-A92D-943128ED78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3FDC815-3AD7-45CA-BB64-B92A0DE1A57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2B21BD-D21C-499F-8FDE-4D0C8C8B2C4D}"/>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8" name="Footer Placeholder 7">
            <a:extLst>
              <a:ext uri="{FF2B5EF4-FFF2-40B4-BE49-F238E27FC236}">
                <a16:creationId xmlns:a16="http://schemas.microsoft.com/office/drawing/2014/main" id="{B7A97D45-9B45-4B4F-B169-2471501499E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0683543-23EF-4D7D-A3B1-48D9A8D035CF}"/>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6183285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1586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6767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1"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prstClr val="black">
                        <a:alpha val="50000"/>
                      </a:prstClr>
                    </a:gs>
                    <a:gs pos="86000">
                      <a:prstClr val="black">
                        <a:alpha val="50000"/>
                      </a:prst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5530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3896581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313">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24392598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733196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811722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7339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495915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05547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2429D-FA25-48A4-B2F7-94E672CA93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AE9EFB1-5EF8-4D71-A54F-2A03F054B93C}"/>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4" name="Footer Placeholder 3">
            <a:extLst>
              <a:ext uri="{FF2B5EF4-FFF2-40B4-BE49-F238E27FC236}">
                <a16:creationId xmlns:a16="http://schemas.microsoft.com/office/drawing/2014/main" id="{B0E8A55C-12F0-4C3B-A31D-83E0A39528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4BD040-3AF1-4453-8D8B-B02979CDB6B5}"/>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40014074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136887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413977025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9298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7C9C0-E8E9-48D6-9600-3575C54F96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BR"/>
          </a:p>
        </p:txBody>
      </p:sp>
      <p:sp>
        <p:nvSpPr>
          <p:cNvPr id="3" name="Subtitle 2">
            <a:extLst>
              <a:ext uri="{FF2B5EF4-FFF2-40B4-BE49-F238E27FC236}">
                <a16:creationId xmlns:a16="http://schemas.microsoft.com/office/drawing/2014/main" id="{3A3DF33B-1D0E-46D9-9576-F5D87EB840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t-BR"/>
          </a:p>
        </p:txBody>
      </p:sp>
      <p:sp>
        <p:nvSpPr>
          <p:cNvPr id="4" name="Date Placeholder 3">
            <a:extLst>
              <a:ext uri="{FF2B5EF4-FFF2-40B4-BE49-F238E27FC236}">
                <a16:creationId xmlns:a16="http://schemas.microsoft.com/office/drawing/2014/main" id="{21D33046-1EC3-457D-82E4-A1FECB9A5CFD}"/>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5" name="Footer Placeholder 4">
            <a:extLst>
              <a:ext uri="{FF2B5EF4-FFF2-40B4-BE49-F238E27FC236}">
                <a16:creationId xmlns:a16="http://schemas.microsoft.com/office/drawing/2014/main" id="{EA70B4AD-CFE6-4A91-8F27-FC2CBA3EDC07}"/>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C9AF5200-9B05-498E-B3BD-A951C0514816}"/>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41357359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96FA1-088D-408B-9AF9-919DA01276AB}"/>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4E2D3E99-72C7-4A7F-911F-45D8E5DDEA9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3FD86BBA-A29E-4301-8711-D9CE98549DDC}"/>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5" name="Footer Placeholder 4">
            <a:extLst>
              <a:ext uri="{FF2B5EF4-FFF2-40B4-BE49-F238E27FC236}">
                <a16:creationId xmlns:a16="http://schemas.microsoft.com/office/drawing/2014/main" id="{4A1B8988-48F3-45DD-9C0B-F00B06692517}"/>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FFDF4CB6-C9EC-48EF-AF34-4EF63B66E80A}"/>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10199685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AF837-A4E8-4CF0-AC2A-B82BAFB3D6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t-BR"/>
          </a:p>
        </p:txBody>
      </p:sp>
      <p:sp>
        <p:nvSpPr>
          <p:cNvPr id="3" name="Text Placeholder 2">
            <a:extLst>
              <a:ext uri="{FF2B5EF4-FFF2-40B4-BE49-F238E27FC236}">
                <a16:creationId xmlns:a16="http://schemas.microsoft.com/office/drawing/2014/main" id="{5375AAA9-BCFA-49A7-BE63-F8CF589144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4E0114C-6900-4233-9418-5E44F1C293C5}"/>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5" name="Footer Placeholder 4">
            <a:extLst>
              <a:ext uri="{FF2B5EF4-FFF2-40B4-BE49-F238E27FC236}">
                <a16:creationId xmlns:a16="http://schemas.microsoft.com/office/drawing/2014/main" id="{E354D327-E0E3-401C-ABCD-3EE31A141603}"/>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21D00A10-4ABD-47F2-89F3-CA62BA16CCAE}"/>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12216879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413B0-393D-4BC0-AE77-40965687CDAB}"/>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6CA43219-D958-49C4-AAB4-F8214FB9E0F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Content Placeholder 3">
            <a:extLst>
              <a:ext uri="{FF2B5EF4-FFF2-40B4-BE49-F238E27FC236}">
                <a16:creationId xmlns:a16="http://schemas.microsoft.com/office/drawing/2014/main" id="{C3A0DEF8-ABBB-44BC-8905-D36D3D6E622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Date Placeholder 4">
            <a:extLst>
              <a:ext uri="{FF2B5EF4-FFF2-40B4-BE49-F238E27FC236}">
                <a16:creationId xmlns:a16="http://schemas.microsoft.com/office/drawing/2014/main" id="{9946AC64-BB3F-4203-9143-C11CA551B47E}"/>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6" name="Footer Placeholder 5">
            <a:extLst>
              <a:ext uri="{FF2B5EF4-FFF2-40B4-BE49-F238E27FC236}">
                <a16:creationId xmlns:a16="http://schemas.microsoft.com/office/drawing/2014/main" id="{A03A9CB2-A082-41BF-A113-46DF0ACEE693}"/>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CB138935-B8B0-4F59-AC10-3CF34BD5F6CB}"/>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32855001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7846C-256A-4ECC-A917-F14300EAF68B}"/>
              </a:ext>
            </a:extLst>
          </p:cNvPr>
          <p:cNvSpPr>
            <a:spLocks noGrp="1"/>
          </p:cNvSpPr>
          <p:nvPr>
            <p:ph type="title"/>
          </p:nvPr>
        </p:nvSpPr>
        <p:spPr>
          <a:xfrm>
            <a:off x="839788" y="365125"/>
            <a:ext cx="10515600" cy="1325563"/>
          </a:xfrm>
        </p:spPr>
        <p:txBody>
          <a:bodyPr/>
          <a:lstStyle/>
          <a:p>
            <a:r>
              <a:rPr lang="en-US"/>
              <a:t>Click to edit Master title style</a:t>
            </a:r>
            <a:endParaRPr lang="pt-BR"/>
          </a:p>
        </p:txBody>
      </p:sp>
      <p:sp>
        <p:nvSpPr>
          <p:cNvPr id="3" name="Text Placeholder 2">
            <a:extLst>
              <a:ext uri="{FF2B5EF4-FFF2-40B4-BE49-F238E27FC236}">
                <a16:creationId xmlns:a16="http://schemas.microsoft.com/office/drawing/2014/main" id="{92A25897-4B35-4A50-8A31-2B976F6E0C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94A462E-CA16-47F8-B67A-4E5DBCCFB4D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Text Placeholder 4">
            <a:extLst>
              <a:ext uri="{FF2B5EF4-FFF2-40B4-BE49-F238E27FC236}">
                <a16:creationId xmlns:a16="http://schemas.microsoft.com/office/drawing/2014/main" id="{54EA3241-D66A-4DBE-95D5-51016F01C9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FF1E181-0828-4068-BD06-58058BA677D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7" name="Date Placeholder 6">
            <a:extLst>
              <a:ext uri="{FF2B5EF4-FFF2-40B4-BE49-F238E27FC236}">
                <a16:creationId xmlns:a16="http://schemas.microsoft.com/office/drawing/2014/main" id="{EFC390B0-3B8B-4723-8FBD-825918761324}"/>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8" name="Footer Placeholder 7">
            <a:extLst>
              <a:ext uri="{FF2B5EF4-FFF2-40B4-BE49-F238E27FC236}">
                <a16:creationId xmlns:a16="http://schemas.microsoft.com/office/drawing/2014/main" id="{17F87A58-20B1-4F55-A8CB-74F5EB7E994C}"/>
              </a:ext>
            </a:extLst>
          </p:cNvPr>
          <p:cNvSpPr>
            <a:spLocks noGrp="1"/>
          </p:cNvSpPr>
          <p:nvPr>
            <p:ph type="ftr" sz="quarter" idx="11"/>
          </p:nvPr>
        </p:nvSpPr>
        <p:spPr/>
        <p:txBody>
          <a:bodyPr/>
          <a:lstStyle/>
          <a:p>
            <a:endParaRPr lang="pt-BR"/>
          </a:p>
        </p:txBody>
      </p:sp>
      <p:sp>
        <p:nvSpPr>
          <p:cNvPr id="9" name="Slide Number Placeholder 8">
            <a:extLst>
              <a:ext uri="{FF2B5EF4-FFF2-40B4-BE49-F238E27FC236}">
                <a16:creationId xmlns:a16="http://schemas.microsoft.com/office/drawing/2014/main" id="{32112192-0275-4C8E-B213-178D2A459108}"/>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3324417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84242-4A65-4A3C-BDB7-C7CC5F53FE9D}"/>
              </a:ext>
            </a:extLst>
          </p:cNvPr>
          <p:cNvSpPr>
            <a:spLocks noGrp="1"/>
          </p:cNvSpPr>
          <p:nvPr>
            <p:ph type="title"/>
          </p:nvPr>
        </p:nvSpPr>
        <p:spPr/>
        <p:txBody>
          <a:bodyPr/>
          <a:lstStyle/>
          <a:p>
            <a:r>
              <a:rPr lang="en-US"/>
              <a:t>Click to edit Master title style</a:t>
            </a:r>
            <a:endParaRPr lang="pt-BR"/>
          </a:p>
        </p:txBody>
      </p:sp>
      <p:sp>
        <p:nvSpPr>
          <p:cNvPr id="3" name="Date Placeholder 2">
            <a:extLst>
              <a:ext uri="{FF2B5EF4-FFF2-40B4-BE49-F238E27FC236}">
                <a16:creationId xmlns:a16="http://schemas.microsoft.com/office/drawing/2014/main" id="{566A95BB-6CD4-4BA5-A1E9-D9E828D9BB25}"/>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4" name="Footer Placeholder 3">
            <a:extLst>
              <a:ext uri="{FF2B5EF4-FFF2-40B4-BE49-F238E27FC236}">
                <a16:creationId xmlns:a16="http://schemas.microsoft.com/office/drawing/2014/main" id="{FC1E2135-52B9-4329-B89F-ED0D664FB0B6}"/>
              </a:ext>
            </a:extLst>
          </p:cNvPr>
          <p:cNvSpPr>
            <a:spLocks noGrp="1"/>
          </p:cNvSpPr>
          <p:nvPr>
            <p:ph type="ftr" sz="quarter" idx="11"/>
          </p:nvPr>
        </p:nvSpPr>
        <p:spPr/>
        <p:txBody>
          <a:bodyPr/>
          <a:lstStyle/>
          <a:p>
            <a:endParaRPr lang="pt-BR"/>
          </a:p>
        </p:txBody>
      </p:sp>
      <p:sp>
        <p:nvSpPr>
          <p:cNvPr id="5" name="Slide Number Placeholder 4">
            <a:extLst>
              <a:ext uri="{FF2B5EF4-FFF2-40B4-BE49-F238E27FC236}">
                <a16:creationId xmlns:a16="http://schemas.microsoft.com/office/drawing/2014/main" id="{F554592C-2D19-4606-A602-60B9EBD7BEA2}"/>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0991843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84F081-633D-49FA-86C3-886B08748504}"/>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3" name="Footer Placeholder 2">
            <a:extLst>
              <a:ext uri="{FF2B5EF4-FFF2-40B4-BE49-F238E27FC236}">
                <a16:creationId xmlns:a16="http://schemas.microsoft.com/office/drawing/2014/main" id="{550D18FC-5DE4-4B5E-BCF4-DCA551DEB447}"/>
              </a:ext>
            </a:extLst>
          </p:cNvPr>
          <p:cNvSpPr>
            <a:spLocks noGrp="1"/>
          </p:cNvSpPr>
          <p:nvPr>
            <p:ph type="ftr" sz="quarter" idx="11"/>
          </p:nvPr>
        </p:nvSpPr>
        <p:spPr/>
        <p:txBody>
          <a:bodyPr/>
          <a:lstStyle/>
          <a:p>
            <a:endParaRPr lang="pt-BR"/>
          </a:p>
        </p:txBody>
      </p:sp>
      <p:sp>
        <p:nvSpPr>
          <p:cNvPr id="4" name="Slide Number Placeholder 3">
            <a:extLst>
              <a:ext uri="{FF2B5EF4-FFF2-40B4-BE49-F238E27FC236}">
                <a16:creationId xmlns:a16="http://schemas.microsoft.com/office/drawing/2014/main" id="{151C89CD-E697-4CC0-87E9-FA5D3070600C}"/>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40527888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95F0B4-AB4F-49E2-8EB8-605F4D142841}"/>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3" name="Footer Placeholder 2">
            <a:extLst>
              <a:ext uri="{FF2B5EF4-FFF2-40B4-BE49-F238E27FC236}">
                <a16:creationId xmlns:a16="http://schemas.microsoft.com/office/drawing/2014/main" id="{E5A41FDE-7065-4F27-B862-17657E01436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33E286-DB05-481D-9CD4-47137681E707}"/>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36105599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93FB-DB7B-45FB-8060-DD5D4E83FB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BR"/>
          </a:p>
        </p:txBody>
      </p:sp>
      <p:sp>
        <p:nvSpPr>
          <p:cNvPr id="3" name="Content Placeholder 2">
            <a:extLst>
              <a:ext uri="{FF2B5EF4-FFF2-40B4-BE49-F238E27FC236}">
                <a16:creationId xmlns:a16="http://schemas.microsoft.com/office/drawing/2014/main" id="{BCC33BCC-69EF-408B-9C6A-F44C1D4A66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Text Placeholder 3">
            <a:extLst>
              <a:ext uri="{FF2B5EF4-FFF2-40B4-BE49-F238E27FC236}">
                <a16:creationId xmlns:a16="http://schemas.microsoft.com/office/drawing/2014/main" id="{E4DA637C-29FC-4B90-91CF-8824202F14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A206C5C-210F-4E8B-96EC-80BF39479643}"/>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6" name="Footer Placeholder 5">
            <a:extLst>
              <a:ext uri="{FF2B5EF4-FFF2-40B4-BE49-F238E27FC236}">
                <a16:creationId xmlns:a16="http://schemas.microsoft.com/office/drawing/2014/main" id="{C2B38C18-3920-4CE3-8A4C-CF4AF924C3E9}"/>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F438CF1E-59B6-492C-86CC-F6AB73EBA3F6}"/>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6187815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E34C4-AB02-45D3-9A6D-60E0DF11F0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BR"/>
          </a:p>
        </p:txBody>
      </p:sp>
      <p:sp>
        <p:nvSpPr>
          <p:cNvPr id="3" name="Picture Placeholder 2">
            <a:extLst>
              <a:ext uri="{FF2B5EF4-FFF2-40B4-BE49-F238E27FC236}">
                <a16:creationId xmlns:a16="http://schemas.microsoft.com/office/drawing/2014/main" id="{C20CAE9E-4F4B-47D1-8DD3-BA572D58F9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Text Placeholder 3">
            <a:extLst>
              <a:ext uri="{FF2B5EF4-FFF2-40B4-BE49-F238E27FC236}">
                <a16:creationId xmlns:a16="http://schemas.microsoft.com/office/drawing/2014/main" id="{4D9B827B-C7A1-422E-AE49-1604B126C0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C9E2983-F1E0-413D-BB0C-F07D1D43B8BB}"/>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6" name="Footer Placeholder 5">
            <a:extLst>
              <a:ext uri="{FF2B5EF4-FFF2-40B4-BE49-F238E27FC236}">
                <a16:creationId xmlns:a16="http://schemas.microsoft.com/office/drawing/2014/main" id="{49E6C1D3-1C07-442E-BB24-0872EC997E94}"/>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4DF03BB3-6DA7-4874-917E-20FC8CB4F150}"/>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6177212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39E6F-3E21-4383-B645-A811798F26C5}"/>
              </a:ext>
            </a:extLst>
          </p:cNvPr>
          <p:cNvSpPr>
            <a:spLocks noGrp="1"/>
          </p:cNvSpPr>
          <p:nvPr>
            <p:ph type="title"/>
          </p:nvPr>
        </p:nvSpPr>
        <p:spPr/>
        <p:txBody>
          <a:bodyPr/>
          <a:lstStyle/>
          <a:p>
            <a:r>
              <a:rPr lang="en-US"/>
              <a:t>Click to edit Master title style</a:t>
            </a:r>
            <a:endParaRPr lang="pt-BR"/>
          </a:p>
        </p:txBody>
      </p:sp>
      <p:sp>
        <p:nvSpPr>
          <p:cNvPr id="3" name="Vertical Text Placeholder 2">
            <a:extLst>
              <a:ext uri="{FF2B5EF4-FFF2-40B4-BE49-F238E27FC236}">
                <a16:creationId xmlns:a16="http://schemas.microsoft.com/office/drawing/2014/main" id="{7FBC3E57-503B-48B4-AC97-3627F6029B2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E4F66348-B7A8-4526-9130-BBD775062F2D}"/>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5" name="Footer Placeholder 4">
            <a:extLst>
              <a:ext uri="{FF2B5EF4-FFF2-40B4-BE49-F238E27FC236}">
                <a16:creationId xmlns:a16="http://schemas.microsoft.com/office/drawing/2014/main" id="{27CEA6B6-AAF5-467A-A70D-6E763D2E254A}"/>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F1FD2DC4-2CC7-498A-9A48-84EF688CC7D9}"/>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0656890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69C26E-FA2B-4E01-906A-8FD730315F7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pt-BR"/>
          </a:p>
        </p:txBody>
      </p:sp>
      <p:sp>
        <p:nvSpPr>
          <p:cNvPr id="3" name="Vertical Text Placeholder 2">
            <a:extLst>
              <a:ext uri="{FF2B5EF4-FFF2-40B4-BE49-F238E27FC236}">
                <a16:creationId xmlns:a16="http://schemas.microsoft.com/office/drawing/2014/main" id="{923C6074-03D7-4237-B00E-F331DC236D7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0F64B975-AC4A-4F3D-B463-5E911D1A2243}"/>
              </a:ext>
            </a:extLst>
          </p:cNvPr>
          <p:cNvSpPr>
            <a:spLocks noGrp="1"/>
          </p:cNvSpPr>
          <p:nvPr>
            <p:ph type="dt" sz="half" idx="10"/>
          </p:nvPr>
        </p:nvSpPr>
        <p:spPr/>
        <p:txBody>
          <a:bodyPr/>
          <a:lstStyle/>
          <a:p>
            <a:fld id="{23399672-8B6C-4DD3-BF61-0B7CDCB691E9}" type="datetimeFigureOut">
              <a:rPr lang="pt-BR" smtClean="0"/>
              <a:t>11/11/2019</a:t>
            </a:fld>
            <a:endParaRPr lang="pt-BR"/>
          </a:p>
        </p:txBody>
      </p:sp>
      <p:sp>
        <p:nvSpPr>
          <p:cNvPr id="5" name="Footer Placeholder 4">
            <a:extLst>
              <a:ext uri="{FF2B5EF4-FFF2-40B4-BE49-F238E27FC236}">
                <a16:creationId xmlns:a16="http://schemas.microsoft.com/office/drawing/2014/main" id="{E3CB796F-C96E-40C9-A25F-72CFAA6AAB83}"/>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6011BAEE-8EFF-43BE-A0E1-20DFC015E1E2}"/>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4209336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userDrawn="1"/>
        </p:nvGrpSpPr>
        <p:grpSpPr>
          <a:xfrm>
            <a:off x="9771302" y="4415196"/>
            <a:ext cx="1728736" cy="1821363"/>
            <a:chOff x="9819181" y="1183681"/>
            <a:chExt cx="2397215" cy="2525301"/>
          </a:xfrm>
        </p:grpSpPr>
        <p:grpSp>
          <p:nvGrpSpPr>
            <p:cNvPr id="4" name="Group 3"/>
            <p:cNvGrpSpPr/>
            <p:nvPr userDrawn="1"/>
          </p:nvGrpSpPr>
          <p:grpSpPr>
            <a:xfrm>
              <a:off x="9819181" y="2404867"/>
              <a:ext cx="2180110" cy="1304115"/>
              <a:chOff x="9819181" y="2404867"/>
              <a:chExt cx="2180110" cy="1304115"/>
            </a:xfrm>
          </p:grpSpPr>
          <p:sp>
            <p:nvSpPr>
              <p:cNvPr id="8" name="Freeform 100"/>
              <p:cNvSpPr>
                <a:spLocks/>
              </p:cNvSpPr>
              <p:nvPr/>
            </p:nvSpPr>
            <p:spPr bwMode="gray">
              <a:xfrm>
                <a:off x="9819181" y="2404867"/>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01"/>
              <p:cNvSpPr>
                <a:spLocks/>
              </p:cNvSpPr>
              <p:nvPr/>
            </p:nvSpPr>
            <p:spPr bwMode="gray">
              <a:xfrm>
                <a:off x="9819181" y="2641978"/>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5" name="Group 4"/>
            <p:cNvGrpSpPr/>
            <p:nvPr userDrawn="1"/>
          </p:nvGrpSpPr>
          <p:grpSpPr>
            <a:xfrm>
              <a:off x="11100633" y="1183681"/>
              <a:ext cx="1115763" cy="667436"/>
              <a:chOff x="11100633" y="1183681"/>
              <a:chExt cx="1115763" cy="667436"/>
            </a:xfrm>
          </p:grpSpPr>
          <p:sp>
            <p:nvSpPr>
              <p:cNvPr id="6"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162349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3258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70826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1987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670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4668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06FE1-64F9-4B63-9E43-AD1FF2DDF8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A69C8B-C214-4535-A95D-99985864806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E8B5FA-AC17-4D14-B39F-0F0B373218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DF904AA-AF76-444E-9D4C-22A825C5F8D8}"/>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6" name="Footer Placeholder 5">
            <a:extLst>
              <a:ext uri="{FF2B5EF4-FFF2-40B4-BE49-F238E27FC236}">
                <a16:creationId xmlns:a16="http://schemas.microsoft.com/office/drawing/2014/main" id="{4C3339F9-1A1D-46DE-BA2B-94BF06BD71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E6BB6C-CF12-4087-8FAA-EFC10D9E1EE6}"/>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20891687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115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0470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2115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1477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7411313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9345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630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07507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61451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371292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37DC8-6A89-4D05-B2BA-4CE571F26C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5A6888B-BEEF-489B-8EA2-637715D018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DE9B5E-F525-43EF-83EC-6C002F502C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6DD97AE-F213-45E0-A979-4A5C44E3F92E}"/>
              </a:ext>
            </a:extLst>
          </p:cNvPr>
          <p:cNvSpPr>
            <a:spLocks noGrp="1"/>
          </p:cNvSpPr>
          <p:nvPr>
            <p:ph type="dt" sz="half" idx="10"/>
          </p:nvPr>
        </p:nvSpPr>
        <p:spPr/>
        <p:txBody>
          <a:bodyPr/>
          <a:lstStyle/>
          <a:p>
            <a:fld id="{501ED2F0-47B6-48EA-83F5-976A1DE1128A}" type="datetimeFigureOut">
              <a:rPr lang="en-US" smtClean="0"/>
              <a:t>11/11/2019</a:t>
            </a:fld>
            <a:endParaRPr lang="en-US"/>
          </a:p>
        </p:txBody>
      </p:sp>
      <p:sp>
        <p:nvSpPr>
          <p:cNvPr id="6" name="Footer Placeholder 5">
            <a:extLst>
              <a:ext uri="{FF2B5EF4-FFF2-40B4-BE49-F238E27FC236}">
                <a16:creationId xmlns:a16="http://schemas.microsoft.com/office/drawing/2014/main" id="{F4DCFB0D-71B1-4DAC-AE0E-3124EB36F2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F6BE0B-16BF-4F38-A233-F9E0DE679DA7}"/>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319765965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788267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4690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5570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5929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6013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3947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27225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7374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34397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29748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heme" Target="../theme/theme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theme" Target="../theme/theme6.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image" Target="../media/image10.emf"/></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247C3E-3F27-42E1-BA11-25961CDBD3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4D9E2A6-AF63-4A72-B7C7-0A9FFD020D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10EA10-6DD6-4FB4-933E-9EBB7814AD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1ED2F0-47B6-48EA-83F5-976A1DE1128A}" type="datetimeFigureOut">
              <a:rPr lang="en-US" smtClean="0"/>
              <a:t>11/11/2019</a:t>
            </a:fld>
            <a:endParaRPr lang="en-US"/>
          </a:p>
        </p:txBody>
      </p:sp>
      <p:sp>
        <p:nvSpPr>
          <p:cNvPr id="5" name="Footer Placeholder 4">
            <a:extLst>
              <a:ext uri="{FF2B5EF4-FFF2-40B4-BE49-F238E27FC236}">
                <a16:creationId xmlns:a16="http://schemas.microsoft.com/office/drawing/2014/main" id="{F31E5907-1654-40E5-AD09-C1EB0D4317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092338A-8AA1-4951-8481-64599C6DCD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A57498-D046-4CB6-965F-9B34AE29BCF9}" type="slidenum">
              <a:rPr lang="en-US" smtClean="0"/>
              <a:t>‹#›</a:t>
            </a:fld>
            <a:endParaRPr lang="en-US"/>
          </a:p>
        </p:txBody>
      </p:sp>
    </p:spTree>
    <p:extLst>
      <p:ext uri="{BB962C8B-B14F-4D97-AF65-F5344CB8AC3E}">
        <p14:creationId xmlns:p14="http://schemas.microsoft.com/office/powerpoint/2010/main" val="476445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857298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383177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2" r:id="rId20"/>
    <p:sldLayoutId id="2147483703" r:id="rId21"/>
    <p:sldLayoutId id="2147483704" r:id="rId22"/>
    <p:sldLayoutId id="2147483705" r:id="rId23"/>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319647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F53929-2E48-4F88-B11C-8FC2BDC4C8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BR"/>
          </a:p>
        </p:txBody>
      </p:sp>
      <p:sp>
        <p:nvSpPr>
          <p:cNvPr id="3" name="Text Placeholder 2">
            <a:extLst>
              <a:ext uri="{FF2B5EF4-FFF2-40B4-BE49-F238E27FC236}">
                <a16:creationId xmlns:a16="http://schemas.microsoft.com/office/drawing/2014/main" id="{69997595-EE29-4B9B-BE0A-B7FC7EC726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612046EB-4F82-45BE-A93C-9823AADB9D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399672-8B6C-4DD3-BF61-0B7CDCB691E9}" type="datetimeFigureOut">
              <a:rPr lang="pt-BR" smtClean="0"/>
              <a:t>11/11/2019</a:t>
            </a:fld>
            <a:endParaRPr lang="pt-BR"/>
          </a:p>
        </p:txBody>
      </p:sp>
      <p:sp>
        <p:nvSpPr>
          <p:cNvPr id="5" name="Footer Placeholder 4">
            <a:extLst>
              <a:ext uri="{FF2B5EF4-FFF2-40B4-BE49-F238E27FC236}">
                <a16:creationId xmlns:a16="http://schemas.microsoft.com/office/drawing/2014/main" id="{2B841CEE-6022-47A3-BBC2-5A88F6009B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Slide Number Placeholder 5">
            <a:extLst>
              <a:ext uri="{FF2B5EF4-FFF2-40B4-BE49-F238E27FC236}">
                <a16:creationId xmlns:a16="http://schemas.microsoft.com/office/drawing/2014/main" id="{7BE85549-E406-4D35-BBD9-AD49CF7666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9FDB50-3A7B-45C5-83C4-6A8973B8A11A}" type="slidenum">
              <a:rPr lang="pt-BR" smtClean="0"/>
              <a:t>‹#›</a:t>
            </a:fld>
            <a:endParaRPr lang="pt-BR"/>
          </a:p>
        </p:txBody>
      </p:sp>
    </p:spTree>
    <p:extLst>
      <p:ext uri="{BB962C8B-B14F-4D97-AF65-F5344CB8AC3E}">
        <p14:creationId xmlns:p14="http://schemas.microsoft.com/office/powerpoint/2010/main" val="141601752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11604508"/>
      </p:ext>
    </p:extLst>
  </p:cSld>
  <p:clrMap bg1="dk1" tx1="lt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34329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4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29.png"/><Relationship Id="rId3" Type="http://schemas.openxmlformats.org/officeDocument/2006/relationships/slideLayout" Target="../slideLayouts/slideLayout46.xml"/><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tags" Target="../tags/tag1.xml"/><Relationship Id="rId16" Type="http://schemas.openxmlformats.org/officeDocument/2006/relationships/image" Target="../media/image43.png"/><Relationship Id="rId1" Type="http://schemas.openxmlformats.org/officeDocument/2006/relationships/vmlDrawing" Target="../drawings/vmlDrawing1.vml"/><Relationship Id="rId6" Type="http://schemas.openxmlformats.org/officeDocument/2006/relationships/image" Target="../media/image33.emf"/><Relationship Id="rId11" Type="http://schemas.openxmlformats.org/officeDocument/2006/relationships/image" Target="../media/image38.svg"/><Relationship Id="rId5" Type="http://schemas.openxmlformats.org/officeDocument/2006/relationships/oleObject" Target="../embeddings/oleObject1.bin"/><Relationship Id="rId15" Type="http://schemas.openxmlformats.org/officeDocument/2006/relationships/image" Target="../media/image42.svg"/><Relationship Id="rId10" Type="http://schemas.openxmlformats.org/officeDocument/2006/relationships/image" Target="../media/image37.png"/><Relationship Id="rId19" Type="http://schemas.openxmlformats.org/officeDocument/2006/relationships/image" Target="../media/image30.svg"/><Relationship Id="rId4" Type="http://schemas.openxmlformats.org/officeDocument/2006/relationships/notesSlide" Target="../notesSlides/notesSlide9.xml"/><Relationship Id="rId9" Type="http://schemas.openxmlformats.org/officeDocument/2006/relationships/image" Target="../media/image36.png"/><Relationship Id="rId14"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 Type="http://schemas.openxmlformats.org/officeDocument/2006/relationships/image" Target="../media/image34.png"/><Relationship Id="rId21" Type="http://schemas.openxmlformats.org/officeDocument/2006/relationships/image" Target="../media/image62.sv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svg"/><Relationship Id="rId2" Type="http://schemas.openxmlformats.org/officeDocument/2006/relationships/notesSlide" Target="../notesSlides/notesSlide10.xml"/><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svg"/><Relationship Id="rId1" Type="http://schemas.openxmlformats.org/officeDocument/2006/relationships/slideLayout" Target="../slideLayouts/slideLayout46.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5" Type="http://schemas.openxmlformats.org/officeDocument/2006/relationships/image" Target="../media/image46.jpeg"/><Relationship Id="rId15" Type="http://schemas.openxmlformats.org/officeDocument/2006/relationships/image" Target="../media/image56.png"/><Relationship Id="rId23" Type="http://schemas.openxmlformats.org/officeDocument/2006/relationships/image" Target="../media/image64.svg"/><Relationship Id="rId28" Type="http://schemas.openxmlformats.org/officeDocument/2006/relationships/image" Target="../media/image69.png"/><Relationship Id="rId10" Type="http://schemas.openxmlformats.org/officeDocument/2006/relationships/image" Target="../media/image51.png"/><Relationship Id="rId19" Type="http://schemas.openxmlformats.org/officeDocument/2006/relationships/image" Target="../media/image60.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svg"/></Relationships>
</file>

<file path=ppt/slides/_rels/slide1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40.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png"/></Relationships>
</file>

<file path=ppt/slides/_rels/slide1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65.png"/><Relationship Id="rId18" Type="http://schemas.openxmlformats.org/officeDocument/2006/relationships/image" Target="../media/image70.svg"/><Relationship Id="rId3" Type="http://schemas.openxmlformats.org/officeDocument/2006/relationships/slideLayout" Target="../slideLayouts/slideLayout46.xml"/><Relationship Id="rId7" Type="http://schemas.openxmlformats.org/officeDocument/2006/relationships/image" Target="../media/image34.png"/><Relationship Id="rId12" Type="http://schemas.openxmlformats.org/officeDocument/2006/relationships/image" Target="../media/image64.svg"/><Relationship Id="rId17" Type="http://schemas.openxmlformats.org/officeDocument/2006/relationships/image" Target="../media/image69.png"/><Relationship Id="rId2" Type="http://schemas.openxmlformats.org/officeDocument/2006/relationships/tags" Target="../tags/tag2.xml"/><Relationship Id="rId16" Type="http://schemas.openxmlformats.org/officeDocument/2006/relationships/image" Target="../media/image68.svg"/><Relationship Id="rId1" Type="http://schemas.openxmlformats.org/officeDocument/2006/relationships/vmlDrawing" Target="../drawings/vmlDrawing2.vml"/><Relationship Id="rId6" Type="http://schemas.openxmlformats.org/officeDocument/2006/relationships/image" Target="../media/image33.emf"/><Relationship Id="rId11" Type="http://schemas.openxmlformats.org/officeDocument/2006/relationships/image" Target="../media/image63.png"/><Relationship Id="rId5" Type="http://schemas.openxmlformats.org/officeDocument/2006/relationships/oleObject" Target="../embeddings/oleObject2.bin"/><Relationship Id="rId15" Type="http://schemas.openxmlformats.org/officeDocument/2006/relationships/image" Target="../media/image67.png"/><Relationship Id="rId10" Type="http://schemas.openxmlformats.org/officeDocument/2006/relationships/image" Target="../media/image62.svg"/><Relationship Id="rId4" Type="http://schemas.openxmlformats.org/officeDocument/2006/relationships/notesSlide" Target="../notesSlides/notesSlide12.xml"/><Relationship Id="rId9" Type="http://schemas.openxmlformats.org/officeDocument/2006/relationships/image" Target="../media/image61.png"/><Relationship Id="rId14" Type="http://schemas.openxmlformats.org/officeDocument/2006/relationships/image" Target="../media/image66.svg"/></Relationships>
</file>

<file path=ppt/slides/_rels/slide15.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65.png"/><Relationship Id="rId18" Type="http://schemas.openxmlformats.org/officeDocument/2006/relationships/image" Target="../media/image70.svg"/><Relationship Id="rId3" Type="http://schemas.openxmlformats.org/officeDocument/2006/relationships/slideLayout" Target="../slideLayouts/slideLayout46.xml"/><Relationship Id="rId7" Type="http://schemas.openxmlformats.org/officeDocument/2006/relationships/image" Target="../media/image34.png"/><Relationship Id="rId12" Type="http://schemas.openxmlformats.org/officeDocument/2006/relationships/image" Target="../media/image64.svg"/><Relationship Id="rId17" Type="http://schemas.openxmlformats.org/officeDocument/2006/relationships/image" Target="../media/image69.png"/><Relationship Id="rId2" Type="http://schemas.openxmlformats.org/officeDocument/2006/relationships/tags" Target="../tags/tag3.xml"/><Relationship Id="rId16" Type="http://schemas.openxmlformats.org/officeDocument/2006/relationships/image" Target="../media/image68.svg"/><Relationship Id="rId1" Type="http://schemas.openxmlformats.org/officeDocument/2006/relationships/vmlDrawing" Target="../drawings/vmlDrawing3.vml"/><Relationship Id="rId6" Type="http://schemas.openxmlformats.org/officeDocument/2006/relationships/image" Target="../media/image33.emf"/><Relationship Id="rId11" Type="http://schemas.openxmlformats.org/officeDocument/2006/relationships/image" Target="../media/image63.png"/><Relationship Id="rId5" Type="http://schemas.openxmlformats.org/officeDocument/2006/relationships/oleObject" Target="../embeddings/oleObject3.bin"/><Relationship Id="rId15" Type="http://schemas.openxmlformats.org/officeDocument/2006/relationships/image" Target="../media/image67.png"/><Relationship Id="rId10" Type="http://schemas.openxmlformats.org/officeDocument/2006/relationships/image" Target="../media/image62.svg"/><Relationship Id="rId4" Type="http://schemas.openxmlformats.org/officeDocument/2006/relationships/notesSlide" Target="../notesSlides/notesSlide13.xml"/><Relationship Id="rId9" Type="http://schemas.openxmlformats.org/officeDocument/2006/relationships/image" Target="../media/image61.png"/><Relationship Id="rId14" Type="http://schemas.openxmlformats.org/officeDocument/2006/relationships/image" Target="../media/image66.svg"/></Relationships>
</file>

<file path=ppt/slides/_rels/slide16.xml.rels><?xml version="1.0" encoding="UTF-8" standalone="yes"?>
<Relationships xmlns="http://schemas.openxmlformats.org/package/2006/relationships"><Relationship Id="rId8" Type="http://schemas.openxmlformats.org/officeDocument/2006/relationships/image" Target="../media/image80.jpeg"/><Relationship Id="rId13" Type="http://schemas.openxmlformats.org/officeDocument/2006/relationships/image" Target="../media/image65.png"/><Relationship Id="rId18" Type="http://schemas.openxmlformats.org/officeDocument/2006/relationships/image" Target="../media/image70.svg"/><Relationship Id="rId3" Type="http://schemas.openxmlformats.org/officeDocument/2006/relationships/slideLayout" Target="../slideLayouts/slideLayout46.xml"/><Relationship Id="rId7" Type="http://schemas.openxmlformats.org/officeDocument/2006/relationships/image" Target="../media/image34.png"/><Relationship Id="rId12" Type="http://schemas.openxmlformats.org/officeDocument/2006/relationships/image" Target="../media/image64.svg"/><Relationship Id="rId17" Type="http://schemas.openxmlformats.org/officeDocument/2006/relationships/image" Target="../media/image69.png"/><Relationship Id="rId2" Type="http://schemas.openxmlformats.org/officeDocument/2006/relationships/tags" Target="../tags/tag4.xml"/><Relationship Id="rId16" Type="http://schemas.openxmlformats.org/officeDocument/2006/relationships/image" Target="../media/image68.svg"/><Relationship Id="rId1" Type="http://schemas.openxmlformats.org/officeDocument/2006/relationships/vmlDrawing" Target="../drawings/vmlDrawing4.vml"/><Relationship Id="rId6" Type="http://schemas.openxmlformats.org/officeDocument/2006/relationships/image" Target="../media/image33.emf"/><Relationship Id="rId11" Type="http://schemas.openxmlformats.org/officeDocument/2006/relationships/image" Target="../media/image63.png"/><Relationship Id="rId5" Type="http://schemas.openxmlformats.org/officeDocument/2006/relationships/oleObject" Target="../embeddings/oleObject4.bin"/><Relationship Id="rId15" Type="http://schemas.openxmlformats.org/officeDocument/2006/relationships/image" Target="../media/image67.png"/><Relationship Id="rId10" Type="http://schemas.openxmlformats.org/officeDocument/2006/relationships/image" Target="../media/image62.svg"/><Relationship Id="rId4" Type="http://schemas.openxmlformats.org/officeDocument/2006/relationships/notesSlide" Target="../notesSlides/notesSlide14.xml"/><Relationship Id="rId9" Type="http://schemas.openxmlformats.org/officeDocument/2006/relationships/image" Target="../media/image61.png"/><Relationship Id="rId14" Type="http://schemas.openxmlformats.org/officeDocument/2006/relationships/image" Target="../media/image66.svg"/></Relationships>
</file>

<file path=ppt/slides/_rels/slide17.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svg"/><Relationship Id="rId18" Type="http://schemas.openxmlformats.org/officeDocument/2006/relationships/image" Target="../media/image91.png"/><Relationship Id="rId3" Type="http://schemas.openxmlformats.org/officeDocument/2006/relationships/slideLayout" Target="../slideLayouts/slideLayout46.xml"/><Relationship Id="rId7" Type="http://schemas.openxmlformats.org/officeDocument/2006/relationships/image" Target="../media/image34.png"/><Relationship Id="rId12" Type="http://schemas.openxmlformats.org/officeDocument/2006/relationships/image" Target="../media/image85.png"/><Relationship Id="rId17" Type="http://schemas.openxmlformats.org/officeDocument/2006/relationships/image" Target="../media/image90.svg"/><Relationship Id="rId2" Type="http://schemas.openxmlformats.org/officeDocument/2006/relationships/tags" Target="../tags/tag5.xml"/><Relationship Id="rId16" Type="http://schemas.openxmlformats.org/officeDocument/2006/relationships/image" Target="../media/image89.png"/><Relationship Id="rId1" Type="http://schemas.openxmlformats.org/officeDocument/2006/relationships/vmlDrawing" Target="../drawings/vmlDrawing5.vml"/><Relationship Id="rId6" Type="http://schemas.openxmlformats.org/officeDocument/2006/relationships/image" Target="../media/image33.emf"/><Relationship Id="rId11" Type="http://schemas.openxmlformats.org/officeDocument/2006/relationships/image" Target="../media/image84.svg"/><Relationship Id="rId5" Type="http://schemas.openxmlformats.org/officeDocument/2006/relationships/oleObject" Target="../embeddings/oleObject5.bin"/><Relationship Id="rId15" Type="http://schemas.openxmlformats.org/officeDocument/2006/relationships/image" Target="../media/image88.svg"/><Relationship Id="rId10" Type="http://schemas.openxmlformats.org/officeDocument/2006/relationships/image" Target="../media/image83.png"/><Relationship Id="rId4" Type="http://schemas.openxmlformats.org/officeDocument/2006/relationships/notesSlide" Target="../notesSlides/notesSlide15.xml"/><Relationship Id="rId9" Type="http://schemas.openxmlformats.org/officeDocument/2006/relationships/image" Target="../media/image82.svg"/><Relationship Id="rId14" Type="http://schemas.openxmlformats.org/officeDocument/2006/relationships/image" Target="../media/image87.png"/></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46.xml"/><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46.xml"/><Relationship Id="rId5" Type="http://schemas.openxmlformats.org/officeDocument/2006/relationships/image" Target="../media/image96.gif"/><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5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LucasCosas/Power_BI/blob/master/Demo%20Excel/Roteiro.md" TargetMode="External"/><Relationship Id="rId2" Type="http://schemas.openxmlformats.org/officeDocument/2006/relationships/notesSlide" Target="../notesSlides/notesSlide19.xml"/><Relationship Id="rId1" Type="http://schemas.openxmlformats.org/officeDocument/2006/relationships/slideLayout" Target="../slideLayouts/slideLayout7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7.xml"/><Relationship Id="rId6" Type="http://schemas.openxmlformats.org/officeDocument/2006/relationships/image" Target="../media/image20.png"/><Relationship Id="rId5" Type="http://schemas.openxmlformats.org/officeDocument/2006/relationships/image" Target="../media/image18.sv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8.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azure.microsoft.com/pt-br/free/students/" TargetMode="Externa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hyperlink" Target="https://careers.microsoft.com/students/us/en/br-ur-intern-results" TargetMode="External"/><Relationship Id="rId2" Type="http://schemas.openxmlformats.org/officeDocument/2006/relationships/image" Target="../media/image24.png"/><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57.xml"/><Relationship Id="rId6" Type="http://schemas.openxmlformats.org/officeDocument/2006/relationships/image" Target="../media/image20.png"/><Relationship Id="rId5" Type="http://schemas.openxmlformats.org/officeDocument/2006/relationships/image" Target="../media/image18.sv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4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zure + Power BI</a:t>
            </a:r>
          </a:p>
        </p:txBody>
      </p:sp>
      <p:sp>
        <p:nvSpPr>
          <p:cNvPr id="7" name="Text Placeholder 6"/>
          <p:cNvSpPr>
            <a:spLocks noGrp="1"/>
          </p:cNvSpPr>
          <p:nvPr>
            <p:ph type="body" sz="quarter" idx="14"/>
          </p:nvPr>
        </p:nvSpPr>
        <p:spPr>
          <a:xfrm>
            <a:off x="267683" y="3877276"/>
            <a:ext cx="6276530" cy="1525033"/>
          </a:xfrm>
        </p:spPr>
        <p:txBody>
          <a:bodyPr/>
          <a:lstStyle/>
          <a:p>
            <a:r>
              <a:rPr lang="en-US" dirty="0"/>
              <a:t>Lucas Cosas</a:t>
            </a:r>
          </a:p>
          <a:p>
            <a:r>
              <a:rPr lang="en-US" dirty="0"/>
              <a:t>12/11/2019</a:t>
            </a:r>
            <a:br>
              <a:rPr lang="en-US" dirty="0"/>
            </a:br>
            <a:endParaRPr lang="en-US" dirty="0"/>
          </a:p>
        </p:txBody>
      </p:sp>
    </p:spTree>
    <p:extLst>
      <p:ext uri="{BB962C8B-B14F-4D97-AF65-F5344CB8AC3E}">
        <p14:creationId xmlns:p14="http://schemas.microsoft.com/office/powerpoint/2010/main" val="423707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2A235F0C-F803-4D46-AB3E-EF822FB86E2A}"/>
              </a:ext>
            </a:extLst>
          </p:cNvPr>
          <p:cNvSpPr/>
          <p:nvPr/>
        </p:nvSpPr>
        <p:spPr bwMode="auto">
          <a:xfrm>
            <a:off x="6256606" y="4593401"/>
            <a:ext cx="5089120" cy="744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nvGrpSpPr>
          <p:cNvPr id="11" name="Group 10" hidden="1"/>
          <p:cNvGrpSpPr/>
          <p:nvPr/>
        </p:nvGrpSpPr>
        <p:grpSpPr>
          <a:xfrm>
            <a:off x="6173461" y="3631261"/>
            <a:ext cx="712686" cy="712685"/>
            <a:chOff x="6343194" y="3598686"/>
            <a:chExt cx="712787" cy="712787"/>
          </a:xfrm>
        </p:grpSpPr>
        <p:sp>
          <p:nvSpPr>
            <p:cNvPr id="148" name="Oval 147"/>
            <p:cNvSpPr/>
            <p:nvPr/>
          </p:nvSpPr>
          <p:spPr bwMode="auto">
            <a:xfrm>
              <a:off x="6343194" y="3598686"/>
              <a:ext cx="712787" cy="712787"/>
            </a:xfrm>
            <a:prstGeom prst="ellipse">
              <a:avLst/>
            </a:prstGeom>
            <a:solidFill>
              <a:srgbClr val="F8F8F8"/>
            </a:solidFill>
            <a:ln w="476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5439">
                      <a:srgbClr val="F8F8F8"/>
                    </a:gs>
                    <a:gs pos="10000">
                      <a:srgbClr val="F8F8F8"/>
                    </a:gs>
                  </a:gsLst>
                  <a:lin ang="5400000" scaled="0"/>
                </a:gradFill>
                <a:latin typeface="Segoe UI"/>
              </a:endParaRPr>
            </a:p>
          </p:txBody>
        </p:sp>
        <p:pic>
          <p:nvPicPr>
            <p:cNvPr id="80" name="Graphic 79" descr="List">
              <a:extLst>
                <a:ext uri="{FF2B5EF4-FFF2-40B4-BE49-F238E27FC236}">
                  <a16:creationId xmlns:a16="http://schemas.microsoft.com/office/drawing/2014/main" id="{FB1059D5-0F1F-4B59-B36B-DF8C900C4A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35449" y="3696603"/>
              <a:ext cx="542316" cy="542316"/>
            </a:xfrm>
            <a:prstGeom prst="rect">
              <a:avLst/>
            </a:prstGeom>
          </p:spPr>
        </p:pic>
      </p:grpSp>
      <p:sp>
        <p:nvSpPr>
          <p:cNvPr id="2" name="Rectangle 1">
            <a:extLst>
              <a:ext uri="{FF2B5EF4-FFF2-40B4-BE49-F238E27FC236}">
                <a16:creationId xmlns:a16="http://schemas.microsoft.com/office/drawing/2014/main" id="{E97C24F7-EF49-4780-926C-822E983CCFB7}"/>
              </a:ext>
            </a:extLst>
          </p:cNvPr>
          <p:cNvSpPr/>
          <p:nvPr/>
        </p:nvSpPr>
        <p:spPr bwMode="auto">
          <a:xfrm>
            <a:off x="6258073" y="2573104"/>
            <a:ext cx="5089120" cy="744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nvGrpSpPr>
          <p:cNvPr id="10" name="Group 9" hidden="1"/>
          <p:cNvGrpSpPr/>
          <p:nvPr/>
        </p:nvGrpSpPr>
        <p:grpSpPr>
          <a:xfrm>
            <a:off x="6173462" y="2631028"/>
            <a:ext cx="712686" cy="712686"/>
            <a:chOff x="6343194" y="2630913"/>
            <a:chExt cx="712787" cy="712787"/>
          </a:xfrm>
        </p:grpSpPr>
        <p:sp>
          <p:nvSpPr>
            <p:cNvPr id="9" name="Oval 8"/>
            <p:cNvSpPr/>
            <p:nvPr/>
          </p:nvSpPr>
          <p:spPr bwMode="auto">
            <a:xfrm>
              <a:off x="6343194" y="2630913"/>
              <a:ext cx="712787" cy="712787"/>
            </a:xfrm>
            <a:prstGeom prst="ellipse">
              <a:avLst/>
            </a:prstGeom>
            <a:solidFill>
              <a:srgbClr val="F8F8F8"/>
            </a:solidFill>
            <a:ln w="476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5439">
                      <a:srgbClr val="F8F8F8"/>
                    </a:gs>
                    <a:gs pos="10000">
                      <a:srgbClr val="F8F8F8"/>
                    </a:gs>
                  </a:gsLst>
                  <a:lin ang="5400000" scaled="0"/>
                </a:gradFill>
                <a:latin typeface="Segoe UI"/>
              </a:endParaRPr>
            </a:p>
          </p:txBody>
        </p:sp>
        <p:pic>
          <p:nvPicPr>
            <p:cNvPr id="3" name="Graphic 2" descr="Bar chart">
              <a:extLst>
                <a:ext uri="{FF2B5EF4-FFF2-40B4-BE49-F238E27FC236}">
                  <a16:creationId xmlns:a16="http://schemas.microsoft.com/office/drawing/2014/main" id="{4EBDB441-4248-4E7C-BF7F-82108B0E84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31995" y="2708031"/>
              <a:ext cx="563612" cy="563612"/>
            </a:xfrm>
            <a:prstGeom prst="rect">
              <a:avLst/>
            </a:prstGeom>
          </p:spPr>
        </p:pic>
      </p:grpSp>
      <p:sp>
        <p:nvSpPr>
          <p:cNvPr id="5" name="Title 4"/>
          <p:cNvSpPr>
            <a:spLocks noGrp="1"/>
          </p:cNvSpPr>
          <p:nvPr>
            <p:ph type="title"/>
          </p:nvPr>
        </p:nvSpPr>
        <p:spPr/>
        <p:txBody>
          <a:bodyPr/>
          <a:lstStyle/>
          <a:p>
            <a:pPr lvl="0"/>
            <a:r>
              <a:rPr lang="en-US" dirty="0"/>
              <a:t>Support hybrid data</a:t>
            </a:r>
            <a:endParaRPr lang="en-US" sz="3529" i="1" dirty="0"/>
          </a:p>
        </p:txBody>
      </p:sp>
      <p:grpSp>
        <p:nvGrpSpPr>
          <p:cNvPr id="4" name="Group 3" hidden="1"/>
          <p:cNvGrpSpPr/>
          <p:nvPr/>
        </p:nvGrpSpPr>
        <p:grpSpPr>
          <a:xfrm>
            <a:off x="865" y="1290949"/>
            <a:ext cx="6257209" cy="5177554"/>
            <a:chOff x="881" y="1316338"/>
            <a:chExt cx="6382679" cy="5281375"/>
          </a:xfrm>
        </p:grpSpPr>
        <p:sp>
          <p:nvSpPr>
            <p:cNvPr id="8" name="Rectangle 7">
              <a:extLst>
                <a:ext uri="{FF2B5EF4-FFF2-40B4-BE49-F238E27FC236}">
                  <a16:creationId xmlns:a16="http://schemas.microsoft.com/office/drawing/2014/main" id="{C04590B6-CE6A-403B-B165-FE903250EB8B}"/>
                </a:ext>
              </a:extLst>
            </p:cNvPr>
            <p:cNvSpPr/>
            <p:nvPr/>
          </p:nvSpPr>
          <p:spPr bwMode="auto">
            <a:xfrm>
              <a:off x="881" y="2370543"/>
              <a:ext cx="5725699" cy="329681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nvGrpSpPr>
            <p:cNvPr id="83" name="Group 82">
              <a:extLst>
                <a:ext uri="{FF2B5EF4-FFF2-40B4-BE49-F238E27FC236}">
                  <a16:creationId xmlns:a16="http://schemas.microsoft.com/office/drawing/2014/main" id="{6C7F29CC-4C4E-4D8A-89BC-0B7FD9CBC426}"/>
                </a:ext>
              </a:extLst>
            </p:cNvPr>
            <p:cNvGrpSpPr/>
            <p:nvPr/>
          </p:nvGrpSpPr>
          <p:grpSpPr>
            <a:xfrm>
              <a:off x="177810" y="1316338"/>
              <a:ext cx="6205750" cy="5281375"/>
              <a:chOff x="5847453" y="997569"/>
              <a:chExt cx="6084621" cy="5178289"/>
            </a:xfrm>
          </p:grpSpPr>
          <p:grpSp>
            <p:nvGrpSpPr>
              <p:cNvPr id="84" name="Group 83">
                <a:extLst>
                  <a:ext uri="{FF2B5EF4-FFF2-40B4-BE49-F238E27FC236}">
                    <a16:creationId xmlns:a16="http://schemas.microsoft.com/office/drawing/2014/main" id="{9ED0FACE-481F-4283-9CC3-EFC4E2D1E086}"/>
                  </a:ext>
                </a:extLst>
              </p:cNvPr>
              <p:cNvGrpSpPr/>
              <p:nvPr/>
            </p:nvGrpSpPr>
            <p:grpSpPr>
              <a:xfrm>
                <a:off x="5847453" y="997569"/>
                <a:ext cx="6084621" cy="5178289"/>
                <a:chOff x="792955" y="4956918"/>
                <a:chExt cx="993149" cy="1193238"/>
              </a:xfrm>
            </p:grpSpPr>
            <p:sp>
              <p:nvSpPr>
                <p:cNvPr id="130" name="Rectangle 129">
                  <a:extLst>
                    <a:ext uri="{FF2B5EF4-FFF2-40B4-BE49-F238E27FC236}">
                      <a16:creationId xmlns:a16="http://schemas.microsoft.com/office/drawing/2014/main" id="{D14C2F92-06ED-45D3-8536-ED5CD3748F5B}"/>
                    </a:ext>
                  </a:extLst>
                </p:cNvPr>
                <p:cNvSpPr/>
                <p:nvPr/>
              </p:nvSpPr>
              <p:spPr bwMode="auto">
                <a:xfrm>
                  <a:off x="792955" y="4956918"/>
                  <a:ext cx="993149" cy="11932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5439">
                          <a:srgbClr val="F8F8F8"/>
                        </a:gs>
                        <a:gs pos="10000">
                          <a:srgbClr val="F8F8F8"/>
                        </a:gs>
                      </a:gsLst>
                      <a:lin ang="5400000" scaled="0"/>
                    </a:gradFill>
                    <a:latin typeface="Segoe UI Semilight"/>
                  </a:endParaRPr>
                </a:p>
              </p:txBody>
            </p:sp>
            <p:grpSp>
              <p:nvGrpSpPr>
                <p:cNvPr id="131" name="Group 130">
                  <a:extLst>
                    <a:ext uri="{FF2B5EF4-FFF2-40B4-BE49-F238E27FC236}">
                      <a16:creationId xmlns:a16="http://schemas.microsoft.com/office/drawing/2014/main" id="{A28B48F8-81B7-4110-BF8D-4F4CABE8685F}"/>
                    </a:ext>
                  </a:extLst>
                </p:cNvPr>
                <p:cNvGrpSpPr>
                  <a:grpSpLocks noChangeAspect="1"/>
                </p:cNvGrpSpPr>
                <p:nvPr/>
              </p:nvGrpSpPr>
              <p:grpSpPr>
                <a:xfrm>
                  <a:off x="944070" y="5244389"/>
                  <a:ext cx="689871" cy="595798"/>
                  <a:chOff x="1070724" y="4002425"/>
                  <a:chExt cx="237467" cy="205086"/>
                </a:xfrm>
              </p:grpSpPr>
              <p:sp>
                <p:nvSpPr>
                  <p:cNvPr id="132" name="Rectangle 56">
                    <a:extLst>
                      <a:ext uri="{FF2B5EF4-FFF2-40B4-BE49-F238E27FC236}">
                        <a16:creationId xmlns:a16="http://schemas.microsoft.com/office/drawing/2014/main" id="{8F70B12F-D929-4F46-80AE-2BCE8F70E48B}"/>
                      </a:ext>
                    </a:extLst>
                  </p:cNvPr>
                  <p:cNvSpPr>
                    <a:spLocks noChangeArrowheads="1"/>
                  </p:cNvSpPr>
                  <p:nvPr/>
                </p:nvSpPr>
                <p:spPr bwMode="auto">
                  <a:xfrm>
                    <a:off x="1144919" y="4002425"/>
                    <a:ext cx="114398" cy="205086"/>
                  </a:xfrm>
                  <a:prstGeom prst="rect">
                    <a:avLst/>
                  </a:prstGeom>
                  <a:noFill/>
                  <a:ln w="2222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FFFFFF"/>
                      </a:solidFill>
                      <a:latin typeface="Segoe UI Semilight"/>
                    </a:endParaRPr>
                  </a:p>
                </p:txBody>
              </p:sp>
              <p:sp>
                <p:nvSpPr>
                  <p:cNvPr id="133" name="Freeform 57">
                    <a:extLst>
                      <a:ext uri="{FF2B5EF4-FFF2-40B4-BE49-F238E27FC236}">
                        <a16:creationId xmlns:a16="http://schemas.microsoft.com/office/drawing/2014/main" id="{596B7788-EF4D-4FE0-B3C1-8D46E2A0329C}"/>
                      </a:ext>
                    </a:extLst>
                  </p:cNvPr>
                  <p:cNvSpPr>
                    <a:spLocks/>
                  </p:cNvSpPr>
                  <p:nvPr/>
                </p:nvSpPr>
                <p:spPr bwMode="auto">
                  <a:xfrm>
                    <a:off x="107072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FFFFFF"/>
                      </a:solidFill>
                      <a:latin typeface="Segoe UI Semilight"/>
                    </a:endParaRPr>
                  </a:p>
                </p:txBody>
              </p:sp>
              <p:sp>
                <p:nvSpPr>
                  <p:cNvPr id="134" name="Freeform 58">
                    <a:extLst>
                      <a:ext uri="{FF2B5EF4-FFF2-40B4-BE49-F238E27FC236}">
                        <a16:creationId xmlns:a16="http://schemas.microsoft.com/office/drawing/2014/main" id="{975EB3A0-F33D-401D-9470-760ED39FC574}"/>
                      </a:ext>
                    </a:extLst>
                  </p:cNvPr>
                  <p:cNvSpPr>
                    <a:spLocks/>
                  </p:cNvSpPr>
                  <p:nvPr/>
                </p:nvSpPr>
                <p:spPr bwMode="auto">
                  <a:xfrm>
                    <a:off x="12753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35" name="Freeform 59">
                    <a:extLst>
                      <a:ext uri="{FF2B5EF4-FFF2-40B4-BE49-F238E27FC236}">
                        <a16:creationId xmlns:a16="http://schemas.microsoft.com/office/drawing/2014/main" id="{BFB734FC-C826-43FD-BB10-B98D274DE246}"/>
                      </a:ext>
                    </a:extLst>
                  </p:cNvPr>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37" name="Rectangle 66">
                    <a:extLst>
                      <a:ext uri="{FF2B5EF4-FFF2-40B4-BE49-F238E27FC236}">
                        <a16:creationId xmlns:a16="http://schemas.microsoft.com/office/drawing/2014/main" id="{8510D948-CF7C-4D75-8822-E28AB1C18470}"/>
                      </a:ext>
                    </a:extLst>
                  </p:cNvPr>
                  <p:cNvSpPr>
                    <a:spLocks noChangeArrowheads="1"/>
                  </p:cNvSpPr>
                  <p:nvPr/>
                </p:nvSpPr>
                <p:spPr bwMode="auto">
                  <a:xfrm>
                    <a:off x="1283171" y="4131296"/>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FFFFFF"/>
                      </a:solidFill>
                      <a:latin typeface="Segoe UI Semilight"/>
                    </a:endParaRPr>
                  </a:p>
                </p:txBody>
              </p:sp>
              <p:sp>
                <p:nvSpPr>
                  <p:cNvPr id="138" name="Rectangle 67">
                    <a:extLst>
                      <a:ext uri="{FF2B5EF4-FFF2-40B4-BE49-F238E27FC236}">
                        <a16:creationId xmlns:a16="http://schemas.microsoft.com/office/drawing/2014/main" id="{30B9E741-B754-4E16-8666-65C7C96E2E5F}"/>
                      </a:ext>
                    </a:extLst>
                  </p:cNvPr>
                  <p:cNvSpPr>
                    <a:spLocks noChangeArrowheads="1"/>
                  </p:cNvSpPr>
                  <p:nvPr/>
                </p:nvSpPr>
                <p:spPr bwMode="auto">
                  <a:xfrm>
                    <a:off x="1283171" y="4159351"/>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39" name="Rectangle 76">
                    <a:extLst>
                      <a:ext uri="{FF2B5EF4-FFF2-40B4-BE49-F238E27FC236}">
                        <a16:creationId xmlns:a16="http://schemas.microsoft.com/office/drawing/2014/main" id="{9BAEF592-4E20-41F2-B010-22931CB60B01}"/>
                      </a:ext>
                    </a:extLst>
                  </p:cNvPr>
                  <p:cNvSpPr>
                    <a:spLocks noChangeArrowheads="1"/>
                  </p:cNvSpPr>
                  <p:nvPr/>
                </p:nvSpPr>
                <p:spPr bwMode="auto">
                  <a:xfrm>
                    <a:off x="1089108" y="4075946"/>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0" name="Rectangle 77">
                    <a:extLst>
                      <a:ext uri="{FF2B5EF4-FFF2-40B4-BE49-F238E27FC236}">
                        <a16:creationId xmlns:a16="http://schemas.microsoft.com/office/drawing/2014/main" id="{442542A6-619F-495A-B993-DA0AE26BE452}"/>
                      </a:ext>
                    </a:extLst>
                  </p:cNvPr>
                  <p:cNvSpPr>
                    <a:spLocks noChangeArrowheads="1"/>
                  </p:cNvSpPr>
                  <p:nvPr/>
                </p:nvSpPr>
                <p:spPr bwMode="auto">
                  <a:xfrm>
                    <a:off x="1089108" y="4104000"/>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1" name="Rectangle 78">
                    <a:extLst>
                      <a:ext uri="{FF2B5EF4-FFF2-40B4-BE49-F238E27FC236}">
                        <a16:creationId xmlns:a16="http://schemas.microsoft.com/office/drawing/2014/main" id="{C9D6449D-8BE1-4A1E-BD56-E9C91EE0B521}"/>
                      </a:ext>
                    </a:extLst>
                  </p:cNvPr>
                  <p:cNvSpPr>
                    <a:spLocks noChangeArrowheads="1"/>
                  </p:cNvSpPr>
                  <p:nvPr/>
                </p:nvSpPr>
                <p:spPr bwMode="auto">
                  <a:xfrm>
                    <a:off x="1089108" y="4130119"/>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2" name="Rectangle 79">
                    <a:extLst>
                      <a:ext uri="{FF2B5EF4-FFF2-40B4-BE49-F238E27FC236}">
                        <a16:creationId xmlns:a16="http://schemas.microsoft.com/office/drawing/2014/main" id="{6780AE00-A99F-45E9-84EC-A39B53339634}"/>
                      </a:ext>
                    </a:extLst>
                  </p:cNvPr>
                  <p:cNvSpPr>
                    <a:spLocks noChangeArrowheads="1"/>
                  </p:cNvSpPr>
                  <p:nvPr/>
                </p:nvSpPr>
                <p:spPr bwMode="auto">
                  <a:xfrm>
                    <a:off x="1118129" y="4075946"/>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3" name="Rectangle 80">
                    <a:extLst>
                      <a:ext uri="{FF2B5EF4-FFF2-40B4-BE49-F238E27FC236}">
                        <a16:creationId xmlns:a16="http://schemas.microsoft.com/office/drawing/2014/main" id="{1B7328BB-DF9D-4259-9E56-8A84CF83DC65}"/>
                      </a:ext>
                    </a:extLst>
                  </p:cNvPr>
                  <p:cNvSpPr>
                    <a:spLocks noChangeArrowheads="1"/>
                  </p:cNvSpPr>
                  <p:nvPr/>
                </p:nvSpPr>
                <p:spPr bwMode="auto">
                  <a:xfrm>
                    <a:off x="1118129" y="4104000"/>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4" name="Rectangle 81">
                    <a:extLst>
                      <a:ext uri="{FF2B5EF4-FFF2-40B4-BE49-F238E27FC236}">
                        <a16:creationId xmlns:a16="http://schemas.microsoft.com/office/drawing/2014/main" id="{AEA915C6-04A2-482C-A8F2-E17885FBDD45}"/>
                      </a:ext>
                    </a:extLst>
                  </p:cNvPr>
                  <p:cNvSpPr>
                    <a:spLocks noChangeArrowheads="1"/>
                  </p:cNvSpPr>
                  <p:nvPr/>
                </p:nvSpPr>
                <p:spPr bwMode="auto">
                  <a:xfrm>
                    <a:off x="1118129" y="4130119"/>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5" name="Rectangle 82">
                    <a:extLst>
                      <a:ext uri="{FF2B5EF4-FFF2-40B4-BE49-F238E27FC236}">
                        <a16:creationId xmlns:a16="http://schemas.microsoft.com/office/drawing/2014/main" id="{90E64E6F-1431-4B74-A182-F171CA3E7795}"/>
                      </a:ext>
                    </a:extLst>
                  </p:cNvPr>
                  <p:cNvSpPr>
                    <a:spLocks noChangeArrowheads="1"/>
                  </p:cNvSpPr>
                  <p:nvPr/>
                </p:nvSpPr>
                <p:spPr bwMode="auto">
                  <a:xfrm>
                    <a:off x="1089108" y="4158174"/>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6" name="Rectangle 83">
                    <a:extLst>
                      <a:ext uri="{FF2B5EF4-FFF2-40B4-BE49-F238E27FC236}">
                        <a16:creationId xmlns:a16="http://schemas.microsoft.com/office/drawing/2014/main" id="{E921C576-7338-4890-9805-439CA69CC69F}"/>
                      </a:ext>
                    </a:extLst>
                  </p:cNvPr>
                  <p:cNvSpPr>
                    <a:spLocks noChangeArrowheads="1"/>
                  </p:cNvSpPr>
                  <p:nvPr/>
                </p:nvSpPr>
                <p:spPr bwMode="auto">
                  <a:xfrm>
                    <a:off x="1118129" y="4158174"/>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grpSp>
          </p:grpSp>
          <p:grpSp>
            <p:nvGrpSpPr>
              <p:cNvPr id="85" name="Group 84">
                <a:extLst>
                  <a:ext uri="{FF2B5EF4-FFF2-40B4-BE49-F238E27FC236}">
                    <a16:creationId xmlns:a16="http://schemas.microsoft.com/office/drawing/2014/main" id="{E0C1C73E-DFBF-4891-A89F-C23780916742}"/>
                  </a:ext>
                </a:extLst>
              </p:cNvPr>
              <p:cNvGrpSpPr/>
              <p:nvPr/>
            </p:nvGrpSpPr>
            <p:grpSpPr>
              <a:xfrm>
                <a:off x="6553201" y="2026908"/>
                <a:ext cx="4654066" cy="3108604"/>
                <a:chOff x="6553201" y="2026908"/>
                <a:chExt cx="4654066" cy="3108604"/>
              </a:xfrm>
            </p:grpSpPr>
            <p:grpSp>
              <p:nvGrpSpPr>
                <p:cNvPr id="86" name="Group 85">
                  <a:extLst>
                    <a:ext uri="{FF2B5EF4-FFF2-40B4-BE49-F238E27FC236}">
                      <a16:creationId xmlns:a16="http://schemas.microsoft.com/office/drawing/2014/main" id="{C329E390-5110-493C-813B-DCCA90E8A35A}"/>
                    </a:ext>
                  </a:extLst>
                </p:cNvPr>
                <p:cNvGrpSpPr/>
                <p:nvPr/>
              </p:nvGrpSpPr>
              <p:grpSpPr>
                <a:xfrm>
                  <a:off x="8278842" y="2564913"/>
                  <a:ext cx="1832267" cy="1464016"/>
                  <a:chOff x="8278842" y="2834542"/>
                  <a:chExt cx="1832267" cy="1464016"/>
                </a:xfrm>
              </p:grpSpPr>
              <p:grpSp>
                <p:nvGrpSpPr>
                  <p:cNvPr id="100" name="Group 99">
                    <a:extLst>
                      <a:ext uri="{FF2B5EF4-FFF2-40B4-BE49-F238E27FC236}">
                        <a16:creationId xmlns:a16="http://schemas.microsoft.com/office/drawing/2014/main" id="{548B21E8-2E8A-4A58-9E33-B213C5D60644}"/>
                      </a:ext>
                    </a:extLst>
                  </p:cNvPr>
                  <p:cNvGrpSpPr/>
                  <p:nvPr/>
                </p:nvGrpSpPr>
                <p:grpSpPr>
                  <a:xfrm>
                    <a:off x="8287785" y="3263888"/>
                    <a:ext cx="1697691" cy="374806"/>
                    <a:chOff x="8514905" y="3061767"/>
                    <a:chExt cx="1731733" cy="382322"/>
                  </a:xfrm>
                </p:grpSpPr>
                <p:sp>
                  <p:nvSpPr>
                    <p:cNvPr id="115" name="TextBox 114">
                      <a:extLst>
                        <a:ext uri="{FF2B5EF4-FFF2-40B4-BE49-F238E27FC236}">
                          <a16:creationId xmlns:a16="http://schemas.microsoft.com/office/drawing/2014/main" id="{FC082697-ABB1-446A-9D9A-97BBC5A4226B}"/>
                        </a:ext>
                      </a:extLst>
                    </p:cNvPr>
                    <p:cNvSpPr txBox="1"/>
                    <p:nvPr/>
                  </p:nvSpPr>
                  <p:spPr>
                    <a:xfrm>
                      <a:off x="8775568" y="3061767"/>
                      <a:ext cx="1471070" cy="382322"/>
                    </a:xfrm>
                    <a:prstGeom prst="rect">
                      <a:avLst/>
                    </a:prstGeom>
                  </p:spPr>
                  <p:txBody>
                    <a:bodyPr wrap="square" lIns="143407" tIns="89630" rIns="143407" bIns="89630" rtlCol="0">
                      <a:spAutoFit/>
                    </a:bodyPr>
                    <a:lstStyle/>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SSRS reports</a:t>
                      </a:r>
                    </a:p>
                  </p:txBody>
                </p:sp>
                <p:grpSp>
                  <p:nvGrpSpPr>
                    <p:cNvPr id="116" name="Group 4">
                      <a:extLst>
                        <a:ext uri="{FF2B5EF4-FFF2-40B4-BE49-F238E27FC236}">
                          <a16:creationId xmlns:a16="http://schemas.microsoft.com/office/drawing/2014/main" id="{710C72AE-FC6A-40BA-9BF4-E5C78D3D722E}"/>
                        </a:ext>
                      </a:extLst>
                    </p:cNvPr>
                    <p:cNvGrpSpPr>
                      <a:grpSpLocks noChangeAspect="1"/>
                    </p:cNvGrpSpPr>
                    <p:nvPr/>
                  </p:nvGrpSpPr>
                  <p:grpSpPr bwMode="auto">
                    <a:xfrm>
                      <a:off x="8514905" y="3119659"/>
                      <a:ext cx="190652" cy="254202"/>
                      <a:chOff x="3814" y="2064"/>
                      <a:chExt cx="210" cy="280"/>
                    </a:xfrm>
                    <a:solidFill>
                      <a:schemeClr val="tx1">
                        <a:lumMod val="60000"/>
                        <a:lumOff val="40000"/>
                      </a:schemeClr>
                    </a:solidFill>
                  </p:grpSpPr>
                  <p:sp>
                    <p:nvSpPr>
                      <p:cNvPr id="117" name="Freeform 5">
                        <a:extLst>
                          <a:ext uri="{FF2B5EF4-FFF2-40B4-BE49-F238E27FC236}">
                            <a16:creationId xmlns:a16="http://schemas.microsoft.com/office/drawing/2014/main" id="{A0B0BB41-804C-4E03-8842-D6381CFBC0DC}"/>
                          </a:ext>
                        </a:extLst>
                      </p:cNvPr>
                      <p:cNvSpPr>
                        <a:spLocks/>
                      </p:cNvSpPr>
                      <p:nvPr/>
                    </p:nvSpPr>
                    <p:spPr bwMode="auto">
                      <a:xfrm>
                        <a:off x="3814" y="2103"/>
                        <a:ext cx="171" cy="241"/>
                      </a:xfrm>
                      <a:custGeom>
                        <a:avLst/>
                        <a:gdLst>
                          <a:gd name="T0" fmla="*/ 171 w 171"/>
                          <a:gd name="T1" fmla="*/ 241 h 241"/>
                          <a:gd name="T2" fmla="*/ 0 w 171"/>
                          <a:gd name="T3" fmla="*/ 241 h 241"/>
                          <a:gd name="T4" fmla="*/ 0 w 171"/>
                          <a:gd name="T5" fmla="*/ 0 h 241"/>
                          <a:gd name="T6" fmla="*/ 29 w 171"/>
                          <a:gd name="T7" fmla="*/ 0 h 241"/>
                          <a:gd name="T8" fmla="*/ 29 w 171"/>
                          <a:gd name="T9" fmla="*/ 14 h 241"/>
                          <a:gd name="T10" fmla="*/ 13 w 171"/>
                          <a:gd name="T11" fmla="*/ 14 h 241"/>
                          <a:gd name="T12" fmla="*/ 13 w 171"/>
                          <a:gd name="T13" fmla="*/ 228 h 241"/>
                          <a:gd name="T14" fmla="*/ 158 w 171"/>
                          <a:gd name="T15" fmla="*/ 228 h 241"/>
                          <a:gd name="T16" fmla="*/ 158 w 171"/>
                          <a:gd name="T17" fmla="*/ 213 h 241"/>
                          <a:gd name="T18" fmla="*/ 171 w 171"/>
                          <a:gd name="T19" fmla="*/ 213 h 241"/>
                          <a:gd name="T20" fmla="*/ 171 w 171"/>
                          <a:gd name="T21"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41">
                            <a:moveTo>
                              <a:pt x="171" y="241"/>
                            </a:moveTo>
                            <a:lnTo>
                              <a:pt x="0" y="241"/>
                            </a:lnTo>
                            <a:lnTo>
                              <a:pt x="0" y="0"/>
                            </a:lnTo>
                            <a:lnTo>
                              <a:pt x="29" y="0"/>
                            </a:lnTo>
                            <a:lnTo>
                              <a:pt x="29" y="14"/>
                            </a:lnTo>
                            <a:lnTo>
                              <a:pt x="13" y="14"/>
                            </a:lnTo>
                            <a:lnTo>
                              <a:pt x="13" y="228"/>
                            </a:lnTo>
                            <a:lnTo>
                              <a:pt x="158" y="228"/>
                            </a:lnTo>
                            <a:lnTo>
                              <a:pt x="158" y="213"/>
                            </a:lnTo>
                            <a:lnTo>
                              <a:pt x="171" y="213"/>
                            </a:lnTo>
                            <a:lnTo>
                              <a:pt x="17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8" name="Freeform 6">
                        <a:extLst>
                          <a:ext uri="{FF2B5EF4-FFF2-40B4-BE49-F238E27FC236}">
                            <a16:creationId xmlns:a16="http://schemas.microsoft.com/office/drawing/2014/main" id="{3D7F0649-A70B-4E43-AEE4-93DE526B86E2}"/>
                          </a:ext>
                        </a:extLst>
                      </p:cNvPr>
                      <p:cNvSpPr>
                        <a:spLocks noEditPoints="1"/>
                      </p:cNvSpPr>
                      <p:nvPr/>
                    </p:nvSpPr>
                    <p:spPr bwMode="auto">
                      <a:xfrm>
                        <a:off x="3854" y="2064"/>
                        <a:ext cx="170" cy="241"/>
                      </a:xfrm>
                      <a:custGeom>
                        <a:avLst/>
                        <a:gdLst>
                          <a:gd name="T0" fmla="*/ 170 w 170"/>
                          <a:gd name="T1" fmla="*/ 241 h 241"/>
                          <a:gd name="T2" fmla="*/ 0 w 170"/>
                          <a:gd name="T3" fmla="*/ 241 h 241"/>
                          <a:gd name="T4" fmla="*/ 0 w 170"/>
                          <a:gd name="T5" fmla="*/ 0 h 241"/>
                          <a:gd name="T6" fmla="*/ 109 w 170"/>
                          <a:gd name="T7" fmla="*/ 0 h 241"/>
                          <a:gd name="T8" fmla="*/ 170 w 170"/>
                          <a:gd name="T9" fmla="*/ 61 h 241"/>
                          <a:gd name="T10" fmla="*/ 170 w 170"/>
                          <a:gd name="T11" fmla="*/ 241 h 241"/>
                          <a:gd name="T12" fmla="*/ 13 w 170"/>
                          <a:gd name="T13" fmla="*/ 228 h 241"/>
                          <a:gd name="T14" fmla="*/ 157 w 170"/>
                          <a:gd name="T15" fmla="*/ 228 h 241"/>
                          <a:gd name="T16" fmla="*/ 157 w 170"/>
                          <a:gd name="T17" fmla="*/ 66 h 241"/>
                          <a:gd name="T18" fmla="*/ 105 w 170"/>
                          <a:gd name="T19" fmla="*/ 13 h 241"/>
                          <a:gd name="T20" fmla="*/ 13 w 170"/>
                          <a:gd name="T21" fmla="*/ 13 h 241"/>
                          <a:gd name="T22" fmla="*/ 13 w 170"/>
                          <a:gd name="T23"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41">
                            <a:moveTo>
                              <a:pt x="170" y="241"/>
                            </a:moveTo>
                            <a:lnTo>
                              <a:pt x="0" y="241"/>
                            </a:lnTo>
                            <a:lnTo>
                              <a:pt x="0" y="0"/>
                            </a:lnTo>
                            <a:lnTo>
                              <a:pt x="109" y="0"/>
                            </a:lnTo>
                            <a:lnTo>
                              <a:pt x="170" y="61"/>
                            </a:lnTo>
                            <a:lnTo>
                              <a:pt x="170" y="241"/>
                            </a:lnTo>
                            <a:close/>
                            <a:moveTo>
                              <a:pt x="13" y="228"/>
                            </a:moveTo>
                            <a:lnTo>
                              <a:pt x="157" y="228"/>
                            </a:lnTo>
                            <a:lnTo>
                              <a:pt x="157" y="66"/>
                            </a:lnTo>
                            <a:lnTo>
                              <a:pt x="105" y="13"/>
                            </a:lnTo>
                            <a:lnTo>
                              <a:pt x="13" y="13"/>
                            </a:lnTo>
                            <a:lnTo>
                              <a:pt x="13"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9" name="Freeform 7">
                        <a:extLst>
                          <a:ext uri="{FF2B5EF4-FFF2-40B4-BE49-F238E27FC236}">
                            <a16:creationId xmlns:a16="http://schemas.microsoft.com/office/drawing/2014/main" id="{CA21D341-9027-4521-AA06-CED51BD172C7}"/>
                          </a:ext>
                        </a:extLst>
                      </p:cNvPr>
                      <p:cNvSpPr>
                        <a:spLocks/>
                      </p:cNvSpPr>
                      <p:nvPr/>
                    </p:nvSpPr>
                    <p:spPr bwMode="auto">
                      <a:xfrm>
                        <a:off x="3950" y="2071"/>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0" name="Rectangle 8">
                        <a:extLst>
                          <a:ext uri="{FF2B5EF4-FFF2-40B4-BE49-F238E27FC236}">
                            <a16:creationId xmlns:a16="http://schemas.microsoft.com/office/drawing/2014/main" id="{19CB52A4-199E-4845-8D97-3D317EDFAC6A}"/>
                          </a:ext>
                        </a:extLst>
                      </p:cNvPr>
                      <p:cNvSpPr>
                        <a:spLocks noChangeArrowheads="1"/>
                      </p:cNvSpPr>
                      <p:nvPr/>
                    </p:nvSpPr>
                    <p:spPr bwMode="auto">
                      <a:xfrm>
                        <a:off x="390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1" name="Rectangle 9">
                        <a:extLst>
                          <a:ext uri="{FF2B5EF4-FFF2-40B4-BE49-F238E27FC236}">
                            <a16:creationId xmlns:a16="http://schemas.microsoft.com/office/drawing/2014/main" id="{56A9E3C6-D7E6-476A-A5AB-083D9D725882}"/>
                          </a:ext>
                        </a:extLst>
                      </p:cNvPr>
                      <p:cNvSpPr>
                        <a:spLocks noChangeArrowheads="1"/>
                      </p:cNvSpPr>
                      <p:nvPr/>
                    </p:nvSpPr>
                    <p:spPr bwMode="auto">
                      <a:xfrm>
                        <a:off x="3963"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2" name="Rectangle 10">
                        <a:extLst>
                          <a:ext uri="{FF2B5EF4-FFF2-40B4-BE49-F238E27FC236}">
                            <a16:creationId xmlns:a16="http://schemas.microsoft.com/office/drawing/2014/main" id="{0C284381-F28B-4879-B0CA-186AB46D9F93}"/>
                          </a:ext>
                        </a:extLst>
                      </p:cNvPr>
                      <p:cNvSpPr>
                        <a:spLocks noChangeArrowheads="1"/>
                      </p:cNvSpPr>
                      <p:nvPr/>
                    </p:nvSpPr>
                    <p:spPr bwMode="auto">
                      <a:xfrm>
                        <a:off x="393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3" name="Rectangle 11">
                        <a:extLst>
                          <a:ext uri="{FF2B5EF4-FFF2-40B4-BE49-F238E27FC236}">
                            <a16:creationId xmlns:a16="http://schemas.microsoft.com/office/drawing/2014/main" id="{2ED7E3FB-C3F4-4626-986E-BBDFB98A5759}"/>
                          </a:ext>
                        </a:extLst>
                      </p:cNvPr>
                      <p:cNvSpPr>
                        <a:spLocks noChangeArrowheads="1"/>
                      </p:cNvSpPr>
                      <p:nvPr/>
                    </p:nvSpPr>
                    <p:spPr bwMode="auto">
                      <a:xfrm>
                        <a:off x="390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4" name="Rectangle 12">
                        <a:extLst>
                          <a:ext uri="{FF2B5EF4-FFF2-40B4-BE49-F238E27FC236}">
                            <a16:creationId xmlns:a16="http://schemas.microsoft.com/office/drawing/2014/main" id="{C854876E-0D8A-41F9-9067-655908203262}"/>
                          </a:ext>
                        </a:extLst>
                      </p:cNvPr>
                      <p:cNvSpPr>
                        <a:spLocks noChangeArrowheads="1"/>
                      </p:cNvSpPr>
                      <p:nvPr/>
                    </p:nvSpPr>
                    <p:spPr bwMode="auto">
                      <a:xfrm>
                        <a:off x="3963"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5" name="Rectangle 13">
                        <a:extLst>
                          <a:ext uri="{FF2B5EF4-FFF2-40B4-BE49-F238E27FC236}">
                            <a16:creationId xmlns:a16="http://schemas.microsoft.com/office/drawing/2014/main" id="{EBF9BA94-4C12-4B52-8486-55539774F56B}"/>
                          </a:ext>
                        </a:extLst>
                      </p:cNvPr>
                      <p:cNvSpPr>
                        <a:spLocks noChangeArrowheads="1"/>
                      </p:cNvSpPr>
                      <p:nvPr/>
                    </p:nvSpPr>
                    <p:spPr bwMode="auto">
                      <a:xfrm>
                        <a:off x="393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6" name="Rectangle 14">
                        <a:extLst>
                          <a:ext uri="{FF2B5EF4-FFF2-40B4-BE49-F238E27FC236}">
                            <a16:creationId xmlns:a16="http://schemas.microsoft.com/office/drawing/2014/main" id="{5A1CF04D-8F20-42C9-9B7E-23822DF47B41}"/>
                          </a:ext>
                        </a:extLst>
                      </p:cNvPr>
                      <p:cNvSpPr>
                        <a:spLocks noChangeArrowheads="1"/>
                      </p:cNvSpPr>
                      <p:nvPr/>
                    </p:nvSpPr>
                    <p:spPr bwMode="auto">
                      <a:xfrm>
                        <a:off x="390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7" name="Rectangle 15">
                        <a:extLst>
                          <a:ext uri="{FF2B5EF4-FFF2-40B4-BE49-F238E27FC236}">
                            <a16:creationId xmlns:a16="http://schemas.microsoft.com/office/drawing/2014/main" id="{CC6DD3E3-9F44-4906-B669-53CAD8B7EE7A}"/>
                          </a:ext>
                        </a:extLst>
                      </p:cNvPr>
                      <p:cNvSpPr>
                        <a:spLocks noChangeArrowheads="1"/>
                      </p:cNvSpPr>
                      <p:nvPr/>
                    </p:nvSpPr>
                    <p:spPr bwMode="auto">
                      <a:xfrm>
                        <a:off x="3963"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8" name="Rectangle 16">
                        <a:extLst>
                          <a:ext uri="{FF2B5EF4-FFF2-40B4-BE49-F238E27FC236}">
                            <a16:creationId xmlns:a16="http://schemas.microsoft.com/office/drawing/2014/main" id="{8B797408-ECBF-4C2D-86A2-5C4C18A1A61E}"/>
                          </a:ext>
                        </a:extLst>
                      </p:cNvPr>
                      <p:cNvSpPr>
                        <a:spLocks noChangeArrowheads="1"/>
                      </p:cNvSpPr>
                      <p:nvPr/>
                    </p:nvSpPr>
                    <p:spPr bwMode="auto">
                      <a:xfrm>
                        <a:off x="393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9" name="Rectangle 17">
                        <a:extLst>
                          <a:ext uri="{FF2B5EF4-FFF2-40B4-BE49-F238E27FC236}">
                            <a16:creationId xmlns:a16="http://schemas.microsoft.com/office/drawing/2014/main" id="{7A58B3DD-4F29-4B92-9E1C-7951B95B8EE3}"/>
                          </a:ext>
                        </a:extLst>
                      </p:cNvPr>
                      <p:cNvSpPr>
                        <a:spLocks noChangeArrowheads="1"/>
                      </p:cNvSpPr>
                      <p:nvPr/>
                    </p:nvSpPr>
                    <p:spPr bwMode="auto">
                      <a:xfrm>
                        <a:off x="3932" y="224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grpSp>
                <p:nvGrpSpPr>
                  <p:cNvPr id="101" name="Group 100">
                    <a:extLst>
                      <a:ext uri="{FF2B5EF4-FFF2-40B4-BE49-F238E27FC236}">
                        <a16:creationId xmlns:a16="http://schemas.microsoft.com/office/drawing/2014/main" id="{85D16734-21F5-4C20-A7DD-13325EFB9ADE}"/>
                      </a:ext>
                    </a:extLst>
                  </p:cNvPr>
                  <p:cNvGrpSpPr/>
                  <p:nvPr/>
                </p:nvGrpSpPr>
                <p:grpSpPr>
                  <a:xfrm>
                    <a:off x="8282734" y="2834542"/>
                    <a:ext cx="1828375" cy="374806"/>
                    <a:chOff x="8509752" y="2673325"/>
                    <a:chExt cx="1865038" cy="382322"/>
                  </a:xfrm>
                </p:grpSpPr>
                <p:sp>
                  <p:nvSpPr>
                    <p:cNvPr id="107" name="TextBox 106">
                      <a:extLst>
                        <a:ext uri="{FF2B5EF4-FFF2-40B4-BE49-F238E27FC236}">
                          <a16:creationId xmlns:a16="http://schemas.microsoft.com/office/drawing/2014/main" id="{22FB15CB-F37A-42A1-BF27-58126A22ADE6}"/>
                        </a:ext>
                      </a:extLst>
                    </p:cNvPr>
                    <p:cNvSpPr txBox="1"/>
                    <p:nvPr/>
                  </p:nvSpPr>
                  <p:spPr>
                    <a:xfrm>
                      <a:off x="8775568" y="2673325"/>
                      <a:ext cx="1599222" cy="382322"/>
                    </a:xfrm>
                    <a:prstGeom prst="rect">
                      <a:avLst/>
                    </a:prstGeom>
                  </p:spPr>
                  <p:txBody>
                    <a:bodyPr wrap="square" lIns="143407" tIns="89630" rIns="143407" bIns="89630" rtlCol="0">
                      <a:spAutoFit/>
                    </a:bodyPr>
                    <a:lstStyle/>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Power BI reports</a:t>
                      </a:r>
                    </a:p>
                  </p:txBody>
                </p:sp>
                <p:grpSp>
                  <p:nvGrpSpPr>
                    <p:cNvPr id="108" name="Group 26">
                      <a:extLst>
                        <a:ext uri="{FF2B5EF4-FFF2-40B4-BE49-F238E27FC236}">
                          <a16:creationId xmlns:a16="http://schemas.microsoft.com/office/drawing/2014/main" id="{B3DE319A-6C6B-4B25-89C8-CA279B14AE3E}"/>
                        </a:ext>
                      </a:extLst>
                    </p:cNvPr>
                    <p:cNvGrpSpPr>
                      <a:grpSpLocks noChangeAspect="1"/>
                    </p:cNvGrpSpPr>
                    <p:nvPr/>
                  </p:nvGrpSpPr>
                  <p:grpSpPr bwMode="auto">
                    <a:xfrm>
                      <a:off x="8509752" y="2727806"/>
                      <a:ext cx="208596" cy="269602"/>
                      <a:chOff x="3812" y="2068"/>
                      <a:chExt cx="212" cy="274"/>
                    </a:xfrm>
                    <a:solidFill>
                      <a:schemeClr val="tx1">
                        <a:lumMod val="60000"/>
                        <a:lumOff val="40000"/>
                      </a:schemeClr>
                    </a:solidFill>
                  </p:grpSpPr>
                  <p:sp>
                    <p:nvSpPr>
                      <p:cNvPr id="109" name="Freeform 27">
                        <a:extLst>
                          <a:ext uri="{FF2B5EF4-FFF2-40B4-BE49-F238E27FC236}">
                            <a16:creationId xmlns:a16="http://schemas.microsoft.com/office/drawing/2014/main" id="{06F30989-DAA8-4B0F-BA7E-1108EF7171EE}"/>
                          </a:ext>
                        </a:extLst>
                      </p:cNvPr>
                      <p:cNvSpPr>
                        <a:spLocks noEditPoints="1"/>
                      </p:cNvSpPr>
                      <p:nvPr/>
                    </p:nvSpPr>
                    <p:spPr bwMode="auto">
                      <a:xfrm>
                        <a:off x="3854" y="2068"/>
                        <a:ext cx="170" cy="239"/>
                      </a:xfrm>
                      <a:custGeom>
                        <a:avLst/>
                        <a:gdLst>
                          <a:gd name="T0" fmla="*/ 170 w 170"/>
                          <a:gd name="T1" fmla="*/ 239 h 239"/>
                          <a:gd name="T2" fmla="*/ 0 w 170"/>
                          <a:gd name="T3" fmla="*/ 239 h 239"/>
                          <a:gd name="T4" fmla="*/ 0 w 170"/>
                          <a:gd name="T5" fmla="*/ 0 h 239"/>
                          <a:gd name="T6" fmla="*/ 109 w 170"/>
                          <a:gd name="T7" fmla="*/ 0 h 239"/>
                          <a:gd name="T8" fmla="*/ 170 w 170"/>
                          <a:gd name="T9" fmla="*/ 61 h 239"/>
                          <a:gd name="T10" fmla="*/ 170 w 170"/>
                          <a:gd name="T11" fmla="*/ 239 h 239"/>
                          <a:gd name="T12" fmla="*/ 13 w 170"/>
                          <a:gd name="T13" fmla="*/ 226 h 239"/>
                          <a:gd name="T14" fmla="*/ 157 w 170"/>
                          <a:gd name="T15" fmla="*/ 226 h 239"/>
                          <a:gd name="T16" fmla="*/ 157 w 170"/>
                          <a:gd name="T17" fmla="*/ 65 h 239"/>
                          <a:gd name="T18" fmla="*/ 102 w 170"/>
                          <a:gd name="T19" fmla="*/ 13 h 239"/>
                          <a:gd name="T20" fmla="*/ 13 w 170"/>
                          <a:gd name="T21" fmla="*/ 13 h 239"/>
                          <a:gd name="T22" fmla="*/ 13 w 170"/>
                          <a:gd name="T23"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39">
                            <a:moveTo>
                              <a:pt x="170" y="239"/>
                            </a:moveTo>
                            <a:lnTo>
                              <a:pt x="0" y="239"/>
                            </a:lnTo>
                            <a:lnTo>
                              <a:pt x="0" y="0"/>
                            </a:lnTo>
                            <a:lnTo>
                              <a:pt x="109" y="0"/>
                            </a:lnTo>
                            <a:lnTo>
                              <a:pt x="170" y="61"/>
                            </a:lnTo>
                            <a:lnTo>
                              <a:pt x="170" y="239"/>
                            </a:lnTo>
                            <a:close/>
                            <a:moveTo>
                              <a:pt x="13" y="226"/>
                            </a:moveTo>
                            <a:lnTo>
                              <a:pt x="157" y="226"/>
                            </a:lnTo>
                            <a:lnTo>
                              <a:pt x="157" y="65"/>
                            </a:lnTo>
                            <a:lnTo>
                              <a:pt x="102" y="13"/>
                            </a:lnTo>
                            <a:lnTo>
                              <a:pt x="13" y="13"/>
                            </a:lnTo>
                            <a:lnTo>
                              <a:pt x="13" y="226"/>
                            </a:lnTo>
                            <a:close/>
                          </a:path>
                        </a:pathLst>
                      </a:custGeom>
                      <a:grp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0" name="Freeform 28">
                        <a:extLst>
                          <a:ext uri="{FF2B5EF4-FFF2-40B4-BE49-F238E27FC236}">
                            <a16:creationId xmlns:a16="http://schemas.microsoft.com/office/drawing/2014/main" id="{33E9432F-13DA-4A6D-9D5D-F7393F331D5E}"/>
                          </a:ext>
                        </a:extLst>
                      </p:cNvPr>
                      <p:cNvSpPr>
                        <a:spLocks/>
                      </p:cNvSpPr>
                      <p:nvPr/>
                    </p:nvSpPr>
                    <p:spPr bwMode="auto">
                      <a:xfrm>
                        <a:off x="3812" y="2103"/>
                        <a:ext cx="171" cy="239"/>
                      </a:xfrm>
                      <a:custGeom>
                        <a:avLst/>
                        <a:gdLst>
                          <a:gd name="T0" fmla="*/ 171 w 171"/>
                          <a:gd name="T1" fmla="*/ 239 h 239"/>
                          <a:gd name="T2" fmla="*/ 0 w 171"/>
                          <a:gd name="T3" fmla="*/ 239 h 239"/>
                          <a:gd name="T4" fmla="*/ 0 w 171"/>
                          <a:gd name="T5" fmla="*/ 0 h 239"/>
                          <a:gd name="T6" fmla="*/ 28 w 171"/>
                          <a:gd name="T7" fmla="*/ 0 h 239"/>
                          <a:gd name="T8" fmla="*/ 28 w 171"/>
                          <a:gd name="T9" fmla="*/ 13 h 239"/>
                          <a:gd name="T10" fmla="*/ 13 w 171"/>
                          <a:gd name="T11" fmla="*/ 13 h 239"/>
                          <a:gd name="T12" fmla="*/ 13 w 171"/>
                          <a:gd name="T13" fmla="*/ 226 h 239"/>
                          <a:gd name="T14" fmla="*/ 157 w 171"/>
                          <a:gd name="T15" fmla="*/ 226 h 239"/>
                          <a:gd name="T16" fmla="*/ 157 w 171"/>
                          <a:gd name="T17" fmla="*/ 209 h 239"/>
                          <a:gd name="T18" fmla="*/ 171 w 171"/>
                          <a:gd name="T19" fmla="*/ 209 h 239"/>
                          <a:gd name="T20" fmla="*/ 171 w 171"/>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39">
                            <a:moveTo>
                              <a:pt x="171" y="239"/>
                            </a:moveTo>
                            <a:lnTo>
                              <a:pt x="0" y="239"/>
                            </a:lnTo>
                            <a:lnTo>
                              <a:pt x="0" y="0"/>
                            </a:lnTo>
                            <a:lnTo>
                              <a:pt x="28" y="0"/>
                            </a:lnTo>
                            <a:lnTo>
                              <a:pt x="28" y="13"/>
                            </a:lnTo>
                            <a:lnTo>
                              <a:pt x="13" y="13"/>
                            </a:lnTo>
                            <a:lnTo>
                              <a:pt x="13" y="226"/>
                            </a:lnTo>
                            <a:lnTo>
                              <a:pt x="157" y="226"/>
                            </a:lnTo>
                            <a:lnTo>
                              <a:pt x="157" y="209"/>
                            </a:lnTo>
                            <a:lnTo>
                              <a:pt x="171" y="209"/>
                            </a:lnTo>
                            <a:lnTo>
                              <a:pt x="171" y="239"/>
                            </a:lnTo>
                            <a:close/>
                          </a:path>
                        </a:pathLst>
                      </a:custGeom>
                      <a:grp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1" name="Freeform 29">
                        <a:extLst>
                          <a:ext uri="{FF2B5EF4-FFF2-40B4-BE49-F238E27FC236}">
                            <a16:creationId xmlns:a16="http://schemas.microsoft.com/office/drawing/2014/main" id="{A594E778-C77B-4791-A777-60C876237135}"/>
                          </a:ext>
                        </a:extLst>
                      </p:cNvPr>
                      <p:cNvSpPr>
                        <a:spLocks/>
                      </p:cNvSpPr>
                      <p:nvPr/>
                    </p:nvSpPr>
                    <p:spPr bwMode="auto">
                      <a:xfrm>
                        <a:off x="3948" y="2075"/>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2" name="Freeform 30">
                        <a:extLst>
                          <a:ext uri="{FF2B5EF4-FFF2-40B4-BE49-F238E27FC236}">
                            <a16:creationId xmlns:a16="http://schemas.microsoft.com/office/drawing/2014/main" id="{0E4E42B6-9074-4280-A333-3A4B4CAE5EB6}"/>
                          </a:ext>
                        </a:extLst>
                      </p:cNvPr>
                      <p:cNvSpPr>
                        <a:spLocks/>
                      </p:cNvSpPr>
                      <p:nvPr/>
                    </p:nvSpPr>
                    <p:spPr bwMode="auto">
                      <a:xfrm>
                        <a:off x="3886" y="2168"/>
                        <a:ext cx="103" cy="50"/>
                      </a:xfrm>
                      <a:custGeom>
                        <a:avLst/>
                        <a:gdLst>
                          <a:gd name="T0" fmla="*/ 59 w 103"/>
                          <a:gd name="T1" fmla="*/ 50 h 50"/>
                          <a:gd name="T2" fmla="*/ 31 w 103"/>
                          <a:gd name="T3" fmla="*/ 22 h 50"/>
                          <a:gd name="T4" fmla="*/ 7 w 103"/>
                          <a:gd name="T5" fmla="*/ 46 h 50"/>
                          <a:gd name="T6" fmla="*/ 0 w 103"/>
                          <a:gd name="T7" fmla="*/ 39 h 50"/>
                          <a:gd name="T8" fmla="*/ 31 w 103"/>
                          <a:gd name="T9" fmla="*/ 9 h 50"/>
                          <a:gd name="T10" fmla="*/ 59 w 103"/>
                          <a:gd name="T11" fmla="*/ 37 h 50"/>
                          <a:gd name="T12" fmla="*/ 97 w 103"/>
                          <a:gd name="T13" fmla="*/ 0 h 50"/>
                          <a:gd name="T14" fmla="*/ 103 w 103"/>
                          <a:gd name="T15" fmla="*/ 7 h 50"/>
                          <a:gd name="T16" fmla="*/ 59 w 103"/>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50">
                            <a:moveTo>
                              <a:pt x="59" y="50"/>
                            </a:moveTo>
                            <a:lnTo>
                              <a:pt x="31" y="22"/>
                            </a:lnTo>
                            <a:lnTo>
                              <a:pt x="7" y="46"/>
                            </a:lnTo>
                            <a:lnTo>
                              <a:pt x="0" y="39"/>
                            </a:lnTo>
                            <a:lnTo>
                              <a:pt x="31" y="9"/>
                            </a:lnTo>
                            <a:lnTo>
                              <a:pt x="59" y="37"/>
                            </a:lnTo>
                            <a:lnTo>
                              <a:pt x="97" y="0"/>
                            </a:lnTo>
                            <a:lnTo>
                              <a:pt x="103" y="7"/>
                            </a:lnTo>
                            <a:lnTo>
                              <a:pt x="5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3" name="Rectangle 31">
                        <a:extLst>
                          <a:ext uri="{FF2B5EF4-FFF2-40B4-BE49-F238E27FC236}">
                            <a16:creationId xmlns:a16="http://schemas.microsoft.com/office/drawing/2014/main" id="{ACDE3009-6F64-4E69-AA00-C4E5681E7368}"/>
                          </a:ext>
                        </a:extLst>
                      </p:cNvPr>
                      <p:cNvSpPr>
                        <a:spLocks noChangeArrowheads="1"/>
                      </p:cNvSpPr>
                      <p:nvPr/>
                    </p:nvSpPr>
                    <p:spPr bwMode="auto">
                      <a:xfrm>
                        <a:off x="3889" y="2223"/>
                        <a:ext cx="10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dirty="0">
                          <a:solidFill>
                            <a:srgbClr val="353535"/>
                          </a:solidFill>
                          <a:latin typeface="Segoe UI Semilight"/>
                        </a:endParaRPr>
                      </a:p>
                    </p:txBody>
                  </p:sp>
                  <p:sp>
                    <p:nvSpPr>
                      <p:cNvPr id="114" name="Freeform 32">
                        <a:extLst>
                          <a:ext uri="{FF2B5EF4-FFF2-40B4-BE49-F238E27FC236}">
                            <a16:creationId xmlns:a16="http://schemas.microsoft.com/office/drawing/2014/main" id="{06C1B586-4A97-4B62-84F5-41BF2CBB1F8A}"/>
                          </a:ext>
                        </a:extLst>
                      </p:cNvPr>
                      <p:cNvSpPr>
                        <a:spLocks/>
                      </p:cNvSpPr>
                      <p:nvPr/>
                    </p:nvSpPr>
                    <p:spPr bwMode="auto">
                      <a:xfrm>
                        <a:off x="3967" y="2166"/>
                        <a:ext cx="22" cy="24"/>
                      </a:xfrm>
                      <a:custGeom>
                        <a:avLst/>
                        <a:gdLst>
                          <a:gd name="T0" fmla="*/ 22 w 22"/>
                          <a:gd name="T1" fmla="*/ 24 h 24"/>
                          <a:gd name="T2" fmla="*/ 13 w 22"/>
                          <a:gd name="T3" fmla="*/ 24 h 24"/>
                          <a:gd name="T4" fmla="*/ 13 w 22"/>
                          <a:gd name="T5" fmla="*/ 9 h 24"/>
                          <a:gd name="T6" fmla="*/ 0 w 22"/>
                          <a:gd name="T7" fmla="*/ 9 h 24"/>
                          <a:gd name="T8" fmla="*/ 0 w 22"/>
                          <a:gd name="T9" fmla="*/ 0 h 24"/>
                          <a:gd name="T10" fmla="*/ 22 w 22"/>
                          <a:gd name="T11" fmla="*/ 0 h 24"/>
                          <a:gd name="T12" fmla="*/ 22 w 2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2" h="24">
                            <a:moveTo>
                              <a:pt x="22" y="24"/>
                            </a:moveTo>
                            <a:lnTo>
                              <a:pt x="13" y="24"/>
                            </a:lnTo>
                            <a:lnTo>
                              <a:pt x="13" y="9"/>
                            </a:lnTo>
                            <a:lnTo>
                              <a:pt x="0" y="9"/>
                            </a:lnTo>
                            <a:lnTo>
                              <a:pt x="0" y="0"/>
                            </a:lnTo>
                            <a:lnTo>
                              <a:pt x="22" y="0"/>
                            </a:lnTo>
                            <a:lnTo>
                              <a:pt x="2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grpSp>
                <p:nvGrpSpPr>
                  <p:cNvPr id="102" name="Group 101">
                    <a:extLst>
                      <a:ext uri="{FF2B5EF4-FFF2-40B4-BE49-F238E27FC236}">
                        <a16:creationId xmlns:a16="http://schemas.microsoft.com/office/drawing/2014/main" id="{61477B1F-209A-475E-B1F8-E1A0886ABB61}"/>
                      </a:ext>
                    </a:extLst>
                  </p:cNvPr>
                  <p:cNvGrpSpPr/>
                  <p:nvPr/>
                </p:nvGrpSpPr>
                <p:grpSpPr>
                  <a:xfrm>
                    <a:off x="8278842" y="3743666"/>
                    <a:ext cx="278867" cy="186544"/>
                    <a:chOff x="4794597" y="4302647"/>
                    <a:chExt cx="435323" cy="291204"/>
                  </a:xfrm>
                  <a:solidFill>
                    <a:schemeClr val="bg1"/>
                  </a:solidFill>
                </p:grpSpPr>
                <p:sp>
                  <p:nvSpPr>
                    <p:cNvPr id="104" name="Freeform 5">
                      <a:extLst>
                        <a:ext uri="{FF2B5EF4-FFF2-40B4-BE49-F238E27FC236}">
                          <a16:creationId xmlns:a16="http://schemas.microsoft.com/office/drawing/2014/main" id="{A4C35F73-6BED-4F3B-8DA8-00F324E54153}"/>
                        </a:ext>
                      </a:extLst>
                    </p:cNvPr>
                    <p:cNvSpPr>
                      <a:spLocks/>
                    </p:cNvSpPr>
                    <p:nvPr/>
                  </p:nvSpPr>
                  <p:spPr bwMode="auto">
                    <a:xfrm>
                      <a:off x="4794597" y="4343547"/>
                      <a:ext cx="435323" cy="250304"/>
                    </a:xfrm>
                    <a:custGeom>
                      <a:avLst/>
                      <a:gdLst>
                        <a:gd name="T0" fmla="*/ 141 w 218"/>
                        <a:gd name="T1" fmla="*/ 0 h 153"/>
                        <a:gd name="T2" fmla="*/ 192 w 218"/>
                        <a:gd name="T3" fmla="*/ 0 h 153"/>
                        <a:gd name="T4" fmla="*/ 218 w 218"/>
                        <a:gd name="T5" fmla="*/ 153 h 153"/>
                        <a:gd name="T6" fmla="*/ 0 w 218"/>
                        <a:gd name="T7" fmla="*/ 153 h 153"/>
                        <a:gd name="T8" fmla="*/ 24 w 218"/>
                        <a:gd name="T9" fmla="*/ 0 h 153"/>
                        <a:gd name="T10" fmla="*/ 73 w 218"/>
                        <a:gd name="T11" fmla="*/ 0 h 153"/>
                      </a:gdLst>
                      <a:ahLst/>
                      <a:cxnLst>
                        <a:cxn ang="0">
                          <a:pos x="T0" y="T1"/>
                        </a:cxn>
                        <a:cxn ang="0">
                          <a:pos x="T2" y="T3"/>
                        </a:cxn>
                        <a:cxn ang="0">
                          <a:pos x="T4" y="T5"/>
                        </a:cxn>
                        <a:cxn ang="0">
                          <a:pos x="T6" y="T7"/>
                        </a:cxn>
                        <a:cxn ang="0">
                          <a:pos x="T8" y="T9"/>
                        </a:cxn>
                        <a:cxn ang="0">
                          <a:pos x="T10" y="T11"/>
                        </a:cxn>
                      </a:cxnLst>
                      <a:rect l="0" t="0" r="r" b="b"/>
                      <a:pathLst>
                        <a:path w="218" h="153">
                          <a:moveTo>
                            <a:pt x="141" y="0"/>
                          </a:moveTo>
                          <a:lnTo>
                            <a:pt x="192" y="0"/>
                          </a:lnTo>
                          <a:lnTo>
                            <a:pt x="218" y="153"/>
                          </a:lnTo>
                          <a:lnTo>
                            <a:pt x="0" y="153"/>
                          </a:lnTo>
                          <a:lnTo>
                            <a:pt x="24" y="0"/>
                          </a:lnTo>
                          <a:lnTo>
                            <a:pt x="73" y="0"/>
                          </a:lnTo>
                        </a:path>
                      </a:pathLst>
                    </a:custGeom>
                    <a:grpFill/>
                    <a:ln w="1587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65">
                        <a:gradFill>
                          <a:gsLst>
                            <a:gs pos="2917">
                              <a:srgbClr val="353535"/>
                            </a:gs>
                            <a:gs pos="100000">
                              <a:srgbClr val="353535"/>
                            </a:gs>
                          </a:gsLst>
                        </a:gradFill>
                        <a:latin typeface="Segoe UI Semilight"/>
                      </a:endParaRPr>
                    </a:p>
                  </p:txBody>
                </p:sp>
                <p:sp>
                  <p:nvSpPr>
                    <p:cNvPr id="105" name="Freeform 8">
                      <a:extLst>
                        <a:ext uri="{FF2B5EF4-FFF2-40B4-BE49-F238E27FC236}">
                          <a16:creationId xmlns:a16="http://schemas.microsoft.com/office/drawing/2014/main" id="{3BC008BB-4022-499A-851C-8ED87D5446AA}"/>
                        </a:ext>
                      </a:extLst>
                    </p:cNvPr>
                    <p:cNvSpPr>
                      <a:spLocks/>
                    </p:cNvSpPr>
                    <p:nvPr/>
                  </p:nvSpPr>
                  <p:spPr bwMode="auto">
                    <a:xfrm>
                      <a:off x="4876469" y="4302647"/>
                      <a:ext cx="313512" cy="98158"/>
                    </a:xfrm>
                    <a:custGeom>
                      <a:avLst/>
                      <a:gdLst>
                        <a:gd name="T0" fmla="*/ 0 w 157"/>
                        <a:gd name="T1" fmla="*/ 58 h 60"/>
                        <a:gd name="T2" fmla="*/ 40 w 157"/>
                        <a:gd name="T3" fmla="*/ 17 h 60"/>
                        <a:gd name="T4" fmla="*/ 49 w 157"/>
                        <a:gd name="T5" fmla="*/ 25 h 60"/>
                        <a:gd name="T6" fmla="*/ 74 w 157"/>
                        <a:gd name="T7" fmla="*/ 0 h 60"/>
                        <a:gd name="T8" fmla="*/ 134 w 157"/>
                        <a:gd name="T9" fmla="*/ 60 h 60"/>
                        <a:gd name="T10" fmla="*/ 157 w 157"/>
                        <a:gd name="T11" fmla="*/ 60 h 60"/>
                      </a:gdLst>
                      <a:ahLst/>
                      <a:cxnLst>
                        <a:cxn ang="0">
                          <a:pos x="T0" y="T1"/>
                        </a:cxn>
                        <a:cxn ang="0">
                          <a:pos x="T2" y="T3"/>
                        </a:cxn>
                        <a:cxn ang="0">
                          <a:pos x="T4" y="T5"/>
                        </a:cxn>
                        <a:cxn ang="0">
                          <a:pos x="T6" y="T7"/>
                        </a:cxn>
                        <a:cxn ang="0">
                          <a:pos x="T8" y="T9"/>
                        </a:cxn>
                        <a:cxn ang="0">
                          <a:pos x="T10" y="T11"/>
                        </a:cxn>
                      </a:cxnLst>
                      <a:rect l="0" t="0" r="r" b="b"/>
                      <a:pathLst>
                        <a:path w="157" h="60">
                          <a:moveTo>
                            <a:pt x="0" y="58"/>
                          </a:moveTo>
                          <a:lnTo>
                            <a:pt x="40" y="17"/>
                          </a:lnTo>
                          <a:lnTo>
                            <a:pt x="49" y="25"/>
                          </a:lnTo>
                          <a:lnTo>
                            <a:pt x="74" y="0"/>
                          </a:lnTo>
                          <a:lnTo>
                            <a:pt x="134" y="60"/>
                          </a:lnTo>
                          <a:lnTo>
                            <a:pt x="157" y="60"/>
                          </a:lnTo>
                        </a:path>
                      </a:pathLst>
                    </a:custGeom>
                    <a:grpFill/>
                    <a:ln w="1587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65">
                        <a:gradFill>
                          <a:gsLst>
                            <a:gs pos="2917">
                              <a:srgbClr val="353535"/>
                            </a:gs>
                            <a:gs pos="100000">
                              <a:srgbClr val="353535"/>
                            </a:gs>
                          </a:gsLst>
                        </a:gradFill>
                        <a:latin typeface="Segoe UI Semilight"/>
                      </a:endParaRPr>
                    </a:p>
                  </p:txBody>
                </p:sp>
                <p:sp>
                  <p:nvSpPr>
                    <p:cNvPr id="106" name="Freeform 9">
                      <a:extLst>
                        <a:ext uri="{FF2B5EF4-FFF2-40B4-BE49-F238E27FC236}">
                          <a16:creationId xmlns:a16="http://schemas.microsoft.com/office/drawing/2014/main" id="{5127C72A-A607-4B4F-8C90-FB43F31A64D5}"/>
                        </a:ext>
                      </a:extLst>
                    </p:cNvPr>
                    <p:cNvSpPr>
                      <a:spLocks/>
                    </p:cNvSpPr>
                    <p:nvPr/>
                  </p:nvSpPr>
                  <p:spPr bwMode="auto">
                    <a:xfrm>
                      <a:off x="4828544" y="4372994"/>
                      <a:ext cx="397382" cy="215949"/>
                    </a:xfrm>
                    <a:custGeom>
                      <a:avLst/>
                      <a:gdLst>
                        <a:gd name="T0" fmla="*/ 0 w 93"/>
                        <a:gd name="T1" fmla="*/ 7 h 62"/>
                        <a:gd name="T2" fmla="*/ 22 w 93"/>
                        <a:gd name="T3" fmla="*/ 27 h 62"/>
                        <a:gd name="T4" fmla="*/ 38 w 93"/>
                        <a:gd name="T5" fmla="*/ 43 h 62"/>
                        <a:gd name="T6" fmla="*/ 55 w 93"/>
                        <a:gd name="T7" fmla="*/ 27 h 62"/>
                        <a:gd name="T8" fmla="*/ 55 w 93"/>
                        <a:gd name="T9" fmla="*/ 26 h 62"/>
                        <a:gd name="T10" fmla="*/ 62 w 93"/>
                        <a:gd name="T11" fmla="*/ 19 h 62"/>
                        <a:gd name="T12" fmla="*/ 69 w 93"/>
                        <a:gd name="T13" fmla="*/ 26 h 62"/>
                        <a:gd name="T14" fmla="*/ 69 w 93"/>
                        <a:gd name="T15" fmla="*/ 26 h 62"/>
                        <a:gd name="T16" fmla="*/ 93 w 9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2">
                          <a:moveTo>
                            <a:pt x="0" y="7"/>
                          </a:moveTo>
                          <a:cubicBezTo>
                            <a:pt x="0" y="7"/>
                            <a:pt x="25" y="0"/>
                            <a:pt x="22" y="27"/>
                          </a:cubicBezTo>
                          <a:cubicBezTo>
                            <a:pt x="21" y="36"/>
                            <a:pt x="29" y="43"/>
                            <a:pt x="38" y="43"/>
                          </a:cubicBezTo>
                          <a:cubicBezTo>
                            <a:pt x="47" y="43"/>
                            <a:pt x="55" y="36"/>
                            <a:pt x="55" y="27"/>
                          </a:cubicBezTo>
                          <a:cubicBezTo>
                            <a:pt x="55" y="26"/>
                            <a:pt x="55" y="26"/>
                            <a:pt x="55" y="26"/>
                          </a:cubicBezTo>
                          <a:cubicBezTo>
                            <a:pt x="55" y="22"/>
                            <a:pt x="58" y="19"/>
                            <a:pt x="62" y="19"/>
                          </a:cubicBezTo>
                          <a:cubicBezTo>
                            <a:pt x="66" y="19"/>
                            <a:pt x="69" y="22"/>
                            <a:pt x="69" y="26"/>
                          </a:cubicBezTo>
                          <a:cubicBezTo>
                            <a:pt x="69" y="26"/>
                            <a:pt x="69" y="26"/>
                            <a:pt x="69" y="26"/>
                          </a:cubicBezTo>
                          <a:cubicBezTo>
                            <a:pt x="69" y="26"/>
                            <a:pt x="66" y="58"/>
                            <a:pt x="93" y="62"/>
                          </a:cubicBezTo>
                        </a:path>
                      </a:pathLst>
                    </a:custGeom>
                    <a:grpFill/>
                    <a:ln w="1587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65">
                        <a:gradFill>
                          <a:gsLst>
                            <a:gs pos="2917">
                              <a:srgbClr val="353535"/>
                            </a:gs>
                            <a:gs pos="100000">
                              <a:srgbClr val="353535"/>
                            </a:gs>
                          </a:gsLst>
                        </a:gradFill>
                        <a:latin typeface="Segoe UI Semilight"/>
                      </a:endParaRPr>
                    </a:p>
                  </p:txBody>
                </p:sp>
              </p:grpSp>
              <p:sp>
                <p:nvSpPr>
                  <p:cNvPr id="103" name="TextBox 102">
                    <a:extLst>
                      <a:ext uri="{FF2B5EF4-FFF2-40B4-BE49-F238E27FC236}">
                        <a16:creationId xmlns:a16="http://schemas.microsoft.com/office/drawing/2014/main" id="{8118214A-1F05-4200-90E7-096EC7236B9C}"/>
                      </a:ext>
                    </a:extLst>
                  </p:cNvPr>
                  <p:cNvSpPr txBox="1"/>
                  <p:nvPr/>
                </p:nvSpPr>
                <p:spPr>
                  <a:xfrm>
                    <a:off x="8570759" y="3662102"/>
                    <a:ext cx="1301691" cy="636456"/>
                  </a:xfrm>
                  <a:prstGeom prst="rect">
                    <a:avLst/>
                  </a:prstGeom>
                  <a:solidFill>
                    <a:schemeClr val="bg1"/>
                  </a:solidFill>
                </p:spPr>
                <p:txBody>
                  <a:bodyPr wrap="square" lIns="143407" tIns="89630" rIns="143407" bIns="89630" rtlCol="0">
                    <a:spAutoFit/>
                  </a:bodyPr>
                  <a:lstStyle/>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Custom </a:t>
                    </a:r>
                  </a:p>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Visualizations</a:t>
                    </a:r>
                  </a:p>
                </p:txBody>
              </p:sp>
            </p:grpSp>
            <p:sp>
              <p:nvSpPr>
                <p:cNvPr id="87" name="Rectangle 86">
                  <a:extLst>
                    <a:ext uri="{FF2B5EF4-FFF2-40B4-BE49-F238E27FC236}">
                      <a16:creationId xmlns:a16="http://schemas.microsoft.com/office/drawing/2014/main" id="{3DAF1DB7-559A-4070-A570-777353ACD8EE}"/>
                    </a:ext>
                  </a:extLst>
                </p:cNvPr>
                <p:cNvSpPr/>
                <p:nvPr/>
              </p:nvSpPr>
              <p:spPr bwMode="auto">
                <a:xfrm>
                  <a:off x="6934682" y="4555314"/>
                  <a:ext cx="3888810" cy="49906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2800" dirty="0">
                      <a:gradFill>
                        <a:gsLst>
                          <a:gs pos="5439">
                            <a:srgbClr val="0078D7"/>
                          </a:gs>
                          <a:gs pos="100000">
                            <a:srgbClr val="0078D7"/>
                          </a:gs>
                        </a:gsLst>
                        <a:lin ang="5400000" scaled="0"/>
                      </a:gradFill>
                      <a:latin typeface="Segoe UI Semibold" panose="020B0702040204020203" pitchFamily="34" charset="0"/>
                      <a:cs typeface="Segoe UI Semibold" panose="020B0702040204020203" pitchFamily="34" charset="0"/>
                    </a:rPr>
                    <a:t>Power BI Report Server</a:t>
                  </a:r>
                </a:p>
              </p:txBody>
            </p:sp>
            <p:cxnSp>
              <p:nvCxnSpPr>
                <p:cNvPr id="88" name="Straight Connector 87">
                  <a:extLst>
                    <a:ext uri="{FF2B5EF4-FFF2-40B4-BE49-F238E27FC236}">
                      <a16:creationId xmlns:a16="http://schemas.microsoft.com/office/drawing/2014/main" id="{66ED124D-3303-4A4B-807A-10ECF4947B72}"/>
                    </a:ext>
                  </a:extLst>
                </p:cNvPr>
                <p:cNvCxnSpPr>
                  <a:cxnSpLocks/>
                </p:cNvCxnSpPr>
                <p:nvPr/>
              </p:nvCxnSpPr>
              <p:spPr>
                <a:xfrm>
                  <a:off x="6553201" y="2685846"/>
                  <a:ext cx="0" cy="2437942"/>
                </a:xfrm>
                <a:prstGeom prst="line">
                  <a:avLst/>
                </a:prstGeom>
                <a:ln w="9525">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255E077-F96E-414C-BBD8-7AED3C04FD1F}"/>
                    </a:ext>
                  </a:extLst>
                </p:cNvPr>
                <p:cNvCxnSpPr>
                  <a:cxnSpLocks/>
                </p:cNvCxnSpPr>
                <p:nvPr/>
              </p:nvCxnSpPr>
              <p:spPr>
                <a:xfrm flipH="1">
                  <a:off x="6588370" y="5135512"/>
                  <a:ext cx="4618892" cy="0"/>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9013D9B-D5E9-4336-8BD9-13E4FACA9AD7}"/>
                    </a:ext>
                  </a:extLst>
                </p:cNvPr>
                <p:cNvCxnSpPr>
                  <a:cxnSpLocks/>
                </p:cNvCxnSpPr>
                <p:nvPr/>
              </p:nvCxnSpPr>
              <p:spPr>
                <a:xfrm>
                  <a:off x="11207262" y="3392473"/>
                  <a:ext cx="5" cy="1731316"/>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B653716-C664-4B2C-A634-5977713BC745}"/>
                    </a:ext>
                  </a:extLst>
                </p:cNvPr>
                <p:cNvCxnSpPr>
                  <a:cxnSpLocks/>
                </p:cNvCxnSpPr>
                <p:nvPr/>
              </p:nvCxnSpPr>
              <p:spPr>
                <a:xfrm flipH="1">
                  <a:off x="10357377" y="3339891"/>
                  <a:ext cx="849885" cy="2563"/>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28AB85C-96B2-4A01-9148-2B438E6439AF}"/>
                    </a:ext>
                  </a:extLst>
                </p:cNvPr>
                <p:cNvCxnSpPr>
                  <a:cxnSpLocks/>
                </p:cNvCxnSpPr>
                <p:nvPr/>
              </p:nvCxnSpPr>
              <p:spPr>
                <a:xfrm>
                  <a:off x="7818331" y="2034635"/>
                  <a:ext cx="3004" cy="656011"/>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B0CC77E-FA7D-4CBA-97DA-74931DF4F01C}"/>
                    </a:ext>
                  </a:extLst>
                </p:cNvPr>
                <p:cNvCxnSpPr>
                  <a:cxnSpLocks/>
                </p:cNvCxnSpPr>
                <p:nvPr/>
              </p:nvCxnSpPr>
              <p:spPr>
                <a:xfrm>
                  <a:off x="10377384" y="2031199"/>
                  <a:ext cx="0" cy="1308692"/>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459BF66-F6FF-4955-A79D-066CFA8A1587}"/>
                    </a:ext>
                  </a:extLst>
                </p:cNvPr>
                <p:cNvCxnSpPr>
                  <a:cxnSpLocks/>
                </p:cNvCxnSpPr>
                <p:nvPr/>
              </p:nvCxnSpPr>
              <p:spPr>
                <a:xfrm flipH="1">
                  <a:off x="6563343" y="2674958"/>
                  <a:ext cx="1268239" cy="2745"/>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A9AAFCD-8B0A-47CF-9686-F0F4D3B7E4EB}"/>
                    </a:ext>
                  </a:extLst>
                </p:cNvPr>
                <p:cNvCxnSpPr>
                  <a:cxnSpLocks/>
                </p:cNvCxnSpPr>
                <p:nvPr/>
              </p:nvCxnSpPr>
              <p:spPr>
                <a:xfrm flipH="1">
                  <a:off x="7806352" y="2026908"/>
                  <a:ext cx="2498239" cy="0"/>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2" name="Rectangle 81">
              <a:extLst>
                <a:ext uri="{FF2B5EF4-FFF2-40B4-BE49-F238E27FC236}">
                  <a16:creationId xmlns:a16="http://schemas.microsoft.com/office/drawing/2014/main" id="{B239335E-DD6E-42C9-9466-D7391335FEA5}"/>
                </a:ext>
              </a:extLst>
            </p:cNvPr>
            <p:cNvSpPr/>
            <p:nvPr/>
          </p:nvSpPr>
          <p:spPr bwMode="auto">
            <a:xfrm>
              <a:off x="3164337" y="4589781"/>
              <a:ext cx="667503" cy="4929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grpSp>
        <p:nvGrpSpPr>
          <p:cNvPr id="193" name="Group 192" hidden="1"/>
          <p:cNvGrpSpPr/>
          <p:nvPr/>
        </p:nvGrpSpPr>
        <p:grpSpPr>
          <a:xfrm>
            <a:off x="865" y="676215"/>
            <a:ext cx="6943729" cy="5592884"/>
            <a:chOff x="5055270" y="689278"/>
            <a:chExt cx="7082965" cy="5705033"/>
          </a:xfrm>
        </p:grpSpPr>
        <p:grpSp>
          <p:nvGrpSpPr>
            <p:cNvPr id="194" name="Group 193"/>
            <p:cNvGrpSpPr/>
            <p:nvPr/>
          </p:nvGrpSpPr>
          <p:grpSpPr>
            <a:xfrm>
              <a:off x="7416800" y="1065839"/>
              <a:ext cx="3590710" cy="2391020"/>
              <a:chOff x="6009626" y="333912"/>
              <a:chExt cx="5334644" cy="3552288"/>
            </a:xfrm>
          </p:grpSpPr>
          <p:pic>
            <p:nvPicPr>
              <p:cNvPr id="257" name="Device"/>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009626" y="333912"/>
                <a:ext cx="5334644" cy="3552288"/>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258" name="Picture 25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44191" y="841044"/>
                <a:ext cx="4086571" cy="2458928"/>
              </a:xfrm>
              <a:prstGeom prst="rect">
                <a:avLst/>
              </a:prstGeom>
            </p:spPr>
          </p:pic>
        </p:grpSp>
        <p:sp>
          <p:nvSpPr>
            <p:cNvPr id="195" name="TextBox 194"/>
            <p:cNvSpPr txBox="1"/>
            <p:nvPr/>
          </p:nvSpPr>
          <p:spPr>
            <a:xfrm>
              <a:off x="7274749" y="689278"/>
              <a:ext cx="3898850" cy="634074"/>
            </a:xfrm>
            <a:prstGeom prst="rect">
              <a:avLst/>
            </a:prstGeom>
            <a:no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353535"/>
                      </a:gs>
                      <a:gs pos="100000">
                        <a:srgbClr val="353535"/>
                      </a:gs>
                    </a:gsLst>
                    <a:lin ang="5400000" scaled="0"/>
                  </a:gradFill>
                  <a:latin typeface="Segoe UI Semibold" panose="020B0702040204020203" pitchFamily="34" charset="0"/>
                  <a:cs typeface="Segoe UI Semibold" panose="020B0702040204020203" pitchFamily="34" charset="0"/>
                </a:rPr>
                <a:t>LIVE POWER BI REPORTS &amp; DASHBOARDS</a:t>
              </a:r>
            </a:p>
          </p:txBody>
        </p:sp>
        <p:cxnSp>
          <p:nvCxnSpPr>
            <p:cNvPr id="196" name="Straight Connector 195"/>
            <p:cNvCxnSpPr>
              <a:cxnSpLocks/>
            </p:cNvCxnSpPr>
            <p:nvPr/>
          </p:nvCxnSpPr>
          <p:spPr>
            <a:xfrm>
              <a:off x="6286075" y="4026758"/>
              <a:ext cx="5852160" cy="0"/>
            </a:xfrm>
            <a:prstGeom prst="line">
              <a:avLst/>
            </a:prstGeom>
            <a:solidFill>
              <a:srgbClr val="FFFFFF"/>
            </a:solidFill>
            <a:ln w="12700" cap="flat" cmpd="sng" algn="ctr">
              <a:solidFill>
                <a:srgbClr val="353535"/>
              </a:solidFill>
              <a:prstDash val="dash"/>
              <a:headEnd type="none" w="med" len="med"/>
              <a:tailEnd type="none" w="med" len="med"/>
            </a:ln>
            <a:effectLst/>
          </p:spPr>
        </p:cxnSp>
        <p:sp>
          <p:nvSpPr>
            <p:cNvPr id="197" name="TextBox 196"/>
            <p:cNvSpPr txBox="1"/>
            <p:nvPr/>
          </p:nvSpPr>
          <p:spPr>
            <a:xfrm>
              <a:off x="7168459" y="3915128"/>
              <a:ext cx="4087393" cy="223260"/>
            </a:xfrm>
            <a:prstGeom prst="rect">
              <a:avLst/>
            </a:prstGeom>
            <a:solidFill>
              <a:srgbClr val="FFFFFF"/>
            </a:solid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LIVE CONNECTION OR SCHEDULED REFRESH</a:t>
              </a:r>
            </a:p>
          </p:txBody>
        </p:sp>
        <p:sp>
          <p:nvSpPr>
            <p:cNvPr id="198" name="TextBox 197"/>
            <p:cNvSpPr txBox="1"/>
            <p:nvPr/>
          </p:nvSpPr>
          <p:spPr>
            <a:xfrm>
              <a:off x="9730588" y="5808032"/>
              <a:ext cx="1313501" cy="489365"/>
            </a:xfrm>
            <a:prstGeom prst="rect">
              <a:avLst/>
            </a:prstGeom>
            <a:noFill/>
          </p:spPr>
          <p:txBody>
            <a:bodyPr wrap="none" lIns="179285" tIns="143428" rIns="179285" bIns="143428" rtlCol="0" anchor="ctr">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a:t>
              </a:r>
            </a:p>
          </p:txBody>
        </p:sp>
        <p:sp>
          <p:nvSpPr>
            <p:cNvPr id="199" name="TextBox 198"/>
            <p:cNvSpPr txBox="1"/>
            <p:nvPr/>
          </p:nvSpPr>
          <p:spPr>
            <a:xfrm>
              <a:off x="6928270" y="5711120"/>
              <a:ext cx="2290630" cy="683191"/>
            </a:xfrm>
            <a:prstGeom prst="rect">
              <a:avLst/>
            </a:prstGeom>
            <a:noFill/>
          </p:spPr>
          <p:txBody>
            <a:bodyPr wrap="none" lIns="179285" tIns="143428" rIns="179285" bIns="143428" rtlCol="0" anchor="ctr">
              <a:spAutoFit/>
            </a:bodyPr>
            <a:lstStyle/>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SSAS tabular / </a:t>
              </a:r>
            </a:p>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multidimensional model</a:t>
              </a:r>
            </a:p>
          </p:txBody>
        </p:sp>
        <p:grpSp>
          <p:nvGrpSpPr>
            <p:cNvPr id="200" name="Group 199"/>
            <p:cNvGrpSpPr/>
            <p:nvPr/>
          </p:nvGrpSpPr>
          <p:grpSpPr>
            <a:xfrm>
              <a:off x="5392414" y="2693914"/>
              <a:ext cx="810122" cy="1087479"/>
              <a:chOff x="5392414" y="3039354"/>
              <a:chExt cx="810122" cy="1087479"/>
            </a:xfrm>
          </p:grpSpPr>
          <p:grpSp>
            <p:nvGrpSpPr>
              <p:cNvPr id="253" name="Group 252"/>
              <p:cNvGrpSpPr/>
              <p:nvPr/>
            </p:nvGrpSpPr>
            <p:grpSpPr>
              <a:xfrm>
                <a:off x="5454575" y="3441033"/>
                <a:ext cx="685800" cy="685800"/>
                <a:chOff x="5430754" y="3441033"/>
                <a:chExt cx="685800" cy="685800"/>
              </a:xfrm>
            </p:grpSpPr>
            <p:sp>
              <p:nvSpPr>
                <p:cNvPr id="255" name="Oval 254"/>
                <p:cNvSpPr/>
                <p:nvPr/>
              </p:nvSpPr>
              <p:spPr bwMode="auto">
                <a:xfrm>
                  <a:off x="5430754" y="3441033"/>
                  <a:ext cx="685800" cy="6858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56" name="Freeform 5"/>
                <p:cNvSpPr>
                  <a:spLocks/>
                </p:cNvSpPr>
                <p:nvPr/>
              </p:nvSpPr>
              <p:spPr bwMode="auto">
                <a:xfrm>
                  <a:off x="5561298" y="3640785"/>
                  <a:ext cx="424712" cy="286296"/>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sp>
            <p:nvSpPr>
              <p:cNvPr id="254" name="Rectangle 253"/>
              <p:cNvSpPr/>
              <p:nvPr/>
            </p:nvSpPr>
            <p:spPr>
              <a:xfrm>
                <a:off x="5392414" y="3039354"/>
                <a:ext cx="810122"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Cloud</a:t>
                </a:r>
              </a:p>
            </p:txBody>
          </p:sp>
        </p:grpSp>
        <p:grpSp>
          <p:nvGrpSpPr>
            <p:cNvPr id="201" name="Group 200"/>
            <p:cNvGrpSpPr/>
            <p:nvPr/>
          </p:nvGrpSpPr>
          <p:grpSpPr>
            <a:xfrm>
              <a:off x="5454575" y="4285597"/>
              <a:ext cx="685800" cy="685800"/>
              <a:chOff x="5430754" y="4631037"/>
              <a:chExt cx="685800" cy="685800"/>
            </a:xfrm>
          </p:grpSpPr>
          <p:sp>
            <p:nvSpPr>
              <p:cNvPr id="223" name="Oval 222"/>
              <p:cNvSpPr/>
              <p:nvPr/>
            </p:nvSpPr>
            <p:spPr bwMode="auto">
              <a:xfrm>
                <a:off x="5430754" y="4631037"/>
                <a:ext cx="685800" cy="6858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5583921" y="4790476"/>
                <a:ext cx="379466" cy="366923"/>
                <a:chOff x="1071984" y="3981142"/>
                <a:chExt cx="234107" cy="226369"/>
              </a:xfrm>
            </p:grpSpPr>
            <p:sp>
              <p:nvSpPr>
                <p:cNvPr id="225" name="Rectangle 56"/>
                <p:cNvSpPr>
                  <a:spLocks noChangeArrowheads="1"/>
                </p:cNvSpPr>
                <p:nvPr/>
              </p:nvSpPr>
              <p:spPr bwMode="auto">
                <a:xfrm>
                  <a:off x="1149375" y="4002425"/>
                  <a:ext cx="104478" cy="205086"/>
                </a:xfrm>
                <a:prstGeom prst="rect">
                  <a:avLst/>
                </a:prstGeom>
                <a:noFill/>
                <a:ln w="1587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6"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7"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8"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9" name="Rectangle 60"/>
                <p:cNvSpPr>
                  <a:spLocks noChangeArrowheads="1"/>
                </p:cNvSpPr>
                <p:nvPr/>
              </p:nvSpPr>
              <p:spPr bwMode="auto">
                <a:xfrm>
                  <a:off x="1168722" y="3981142"/>
                  <a:ext cx="29989" cy="21282"/>
                </a:xfrm>
                <a:prstGeom prst="rect">
                  <a:avLst/>
                </a:pr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0"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1"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2"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3"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4"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5"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6"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7"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8"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9"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0"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1"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2"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3"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4"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5"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6"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7"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8"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9"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50"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51"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52"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grpSp>
        <p:sp>
          <p:nvSpPr>
            <p:cNvPr id="202" name="Rectangle 201"/>
            <p:cNvSpPr/>
            <p:nvPr/>
          </p:nvSpPr>
          <p:spPr>
            <a:xfrm>
              <a:off x="5055270" y="5011107"/>
              <a:ext cx="1484410"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On-premises</a:t>
              </a:r>
            </a:p>
          </p:txBody>
        </p:sp>
        <p:grpSp>
          <p:nvGrpSpPr>
            <p:cNvPr id="203" name="Group 202"/>
            <p:cNvGrpSpPr/>
            <p:nvPr/>
          </p:nvGrpSpPr>
          <p:grpSpPr>
            <a:xfrm>
              <a:off x="9942474" y="4853209"/>
              <a:ext cx="890428" cy="895100"/>
              <a:chOff x="10207166" y="5203693"/>
              <a:chExt cx="890428" cy="895100"/>
            </a:xfrm>
          </p:grpSpPr>
          <p:sp>
            <p:nvSpPr>
              <p:cNvPr id="219" name="Oval 218"/>
              <p:cNvSpPr>
                <a:spLocks noChangeArrowheads="1"/>
              </p:cNvSpPr>
              <p:nvPr/>
            </p:nvSpPr>
            <p:spPr bwMode="auto">
              <a:xfrm>
                <a:off x="10207166" y="5203693"/>
                <a:ext cx="890428" cy="8951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220" name="Group 219"/>
              <p:cNvGrpSpPr/>
              <p:nvPr/>
            </p:nvGrpSpPr>
            <p:grpSpPr>
              <a:xfrm>
                <a:off x="10454465" y="5450012"/>
                <a:ext cx="395831" cy="402463"/>
                <a:chOff x="6240712" y="2387043"/>
                <a:chExt cx="395831" cy="402463"/>
              </a:xfrm>
            </p:grpSpPr>
            <p:sp>
              <p:nvSpPr>
                <p:cNvPr id="221" name="Freeform: Shape 220"/>
                <p:cNvSpPr/>
                <p:nvPr/>
              </p:nvSpPr>
              <p:spPr bwMode="auto">
                <a:xfrm>
                  <a:off x="6240712" y="2469912"/>
                  <a:ext cx="395831" cy="319594"/>
                </a:xfrm>
                <a:custGeom>
                  <a:avLst/>
                  <a:gdLst>
                    <a:gd name="connsiteX0" fmla="*/ 0 w 395831"/>
                    <a:gd name="connsiteY0" fmla="*/ 0 h 319594"/>
                    <a:gd name="connsiteX1" fmla="*/ 395831 w 395831"/>
                    <a:gd name="connsiteY1" fmla="*/ 0 h 319594"/>
                    <a:gd name="connsiteX2" fmla="*/ 395831 w 395831"/>
                    <a:gd name="connsiteY2" fmla="*/ 234599 h 319594"/>
                    <a:gd name="connsiteX3" fmla="*/ 395131 w 395831"/>
                    <a:gd name="connsiteY3" fmla="*/ 234599 h 319594"/>
                    <a:gd name="connsiteX4" fmla="*/ 197566 w 395831"/>
                    <a:gd name="connsiteY4" fmla="*/ 319594 h 319594"/>
                    <a:gd name="connsiteX5" fmla="*/ 1 w 395831"/>
                    <a:gd name="connsiteY5" fmla="*/ 234599 h 319594"/>
                    <a:gd name="connsiteX6" fmla="*/ 0 w 395831"/>
                    <a:gd name="connsiteY6" fmla="*/ 234599 h 3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831" h="319594">
                      <a:moveTo>
                        <a:pt x="0" y="0"/>
                      </a:moveTo>
                      <a:lnTo>
                        <a:pt x="395831" y="0"/>
                      </a:lnTo>
                      <a:lnTo>
                        <a:pt x="395831" y="234599"/>
                      </a:lnTo>
                      <a:lnTo>
                        <a:pt x="395131" y="234599"/>
                      </a:lnTo>
                      <a:cubicBezTo>
                        <a:pt x="395131" y="281540"/>
                        <a:pt x="306678" y="319594"/>
                        <a:pt x="197566" y="319594"/>
                      </a:cubicBezTo>
                      <a:cubicBezTo>
                        <a:pt x="88454" y="319594"/>
                        <a:pt x="1" y="281540"/>
                        <a:pt x="1" y="234599"/>
                      </a:cubicBezTo>
                      <a:lnTo>
                        <a:pt x="0" y="234599"/>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222" name="Oval 221"/>
                <p:cNvSpPr/>
                <p:nvPr/>
              </p:nvSpPr>
              <p:spPr bwMode="auto">
                <a:xfrm>
                  <a:off x="6240713" y="2387043"/>
                  <a:ext cx="395130" cy="169990"/>
                </a:xfrm>
                <a:prstGeom prst="ellipse">
                  <a:avLst/>
                </a:prstGeom>
                <a:solidFill>
                  <a:srgbClr val="FFFFFF"/>
                </a:solidFill>
                <a:ln w="1587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grpSp>
        <p:grpSp>
          <p:nvGrpSpPr>
            <p:cNvPr id="204" name="Group 203"/>
            <p:cNvGrpSpPr/>
            <p:nvPr/>
          </p:nvGrpSpPr>
          <p:grpSpPr>
            <a:xfrm>
              <a:off x="7591408" y="4853209"/>
              <a:ext cx="890428" cy="895100"/>
              <a:chOff x="7553884" y="5203693"/>
              <a:chExt cx="890428" cy="895100"/>
            </a:xfrm>
          </p:grpSpPr>
          <p:sp>
            <p:nvSpPr>
              <p:cNvPr id="214" name="Oval 213"/>
              <p:cNvSpPr>
                <a:spLocks noChangeArrowheads="1"/>
              </p:cNvSpPr>
              <p:nvPr/>
            </p:nvSpPr>
            <p:spPr bwMode="auto">
              <a:xfrm>
                <a:off x="7553884" y="5203693"/>
                <a:ext cx="890428" cy="8951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215" name="Group 8"/>
              <p:cNvGrpSpPr>
                <a:grpSpLocks noChangeAspect="1"/>
              </p:cNvGrpSpPr>
              <p:nvPr/>
            </p:nvGrpSpPr>
            <p:grpSpPr bwMode="auto">
              <a:xfrm>
                <a:off x="7788838" y="5417041"/>
                <a:ext cx="424356" cy="490489"/>
                <a:chOff x="11" y="8"/>
                <a:chExt cx="154" cy="178"/>
              </a:xfrm>
            </p:grpSpPr>
            <p:sp>
              <p:nvSpPr>
                <p:cNvPr id="216" name="Freeform 9"/>
                <p:cNvSpPr>
                  <a:spLocks/>
                </p:cNvSpPr>
                <p:nvPr/>
              </p:nvSpPr>
              <p:spPr bwMode="auto">
                <a:xfrm>
                  <a:off x="11" y="8"/>
                  <a:ext cx="154" cy="178"/>
                </a:xfrm>
                <a:custGeom>
                  <a:avLst/>
                  <a:gdLst>
                    <a:gd name="T0" fmla="*/ 0 w 154"/>
                    <a:gd name="T1" fmla="*/ 45 h 178"/>
                    <a:gd name="T2" fmla="*/ 77 w 154"/>
                    <a:gd name="T3" fmla="*/ 0 h 178"/>
                    <a:gd name="T4" fmla="*/ 154 w 154"/>
                    <a:gd name="T5" fmla="*/ 45 h 178"/>
                    <a:gd name="T6" fmla="*/ 154 w 154"/>
                    <a:gd name="T7" fmla="*/ 136 h 178"/>
                    <a:gd name="T8" fmla="*/ 77 w 154"/>
                    <a:gd name="T9" fmla="*/ 178 h 178"/>
                    <a:gd name="T10" fmla="*/ 0 w 154"/>
                    <a:gd name="T11" fmla="*/ 136 h 178"/>
                    <a:gd name="T12" fmla="*/ 0 w 154"/>
                    <a:gd name="T13" fmla="*/ 45 h 178"/>
                  </a:gdLst>
                  <a:ahLst/>
                  <a:cxnLst>
                    <a:cxn ang="0">
                      <a:pos x="T0" y="T1"/>
                    </a:cxn>
                    <a:cxn ang="0">
                      <a:pos x="T2" y="T3"/>
                    </a:cxn>
                    <a:cxn ang="0">
                      <a:pos x="T4" y="T5"/>
                    </a:cxn>
                    <a:cxn ang="0">
                      <a:pos x="T6" y="T7"/>
                    </a:cxn>
                    <a:cxn ang="0">
                      <a:pos x="T8" y="T9"/>
                    </a:cxn>
                    <a:cxn ang="0">
                      <a:pos x="T10" y="T11"/>
                    </a:cxn>
                    <a:cxn ang="0">
                      <a:pos x="T12" y="T13"/>
                    </a:cxn>
                  </a:cxnLst>
                  <a:rect l="0" t="0" r="r" b="b"/>
                  <a:pathLst>
                    <a:path w="154" h="178">
                      <a:moveTo>
                        <a:pt x="0" y="45"/>
                      </a:moveTo>
                      <a:lnTo>
                        <a:pt x="77" y="0"/>
                      </a:lnTo>
                      <a:lnTo>
                        <a:pt x="154" y="45"/>
                      </a:lnTo>
                      <a:lnTo>
                        <a:pt x="154" y="136"/>
                      </a:lnTo>
                      <a:lnTo>
                        <a:pt x="77" y="178"/>
                      </a:lnTo>
                      <a:lnTo>
                        <a:pt x="0" y="136"/>
                      </a:lnTo>
                      <a:lnTo>
                        <a:pt x="0" y="45"/>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7" name="Freeform 10"/>
                <p:cNvSpPr>
                  <a:spLocks/>
                </p:cNvSpPr>
                <p:nvPr/>
              </p:nvSpPr>
              <p:spPr bwMode="auto">
                <a:xfrm>
                  <a:off x="11" y="53"/>
                  <a:ext cx="154" cy="45"/>
                </a:xfrm>
                <a:custGeom>
                  <a:avLst/>
                  <a:gdLst>
                    <a:gd name="T0" fmla="*/ 154 w 154"/>
                    <a:gd name="T1" fmla="*/ 0 h 45"/>
                    <a:gd name="T2" fmla="*/ 77 w 154"/>
                    <a:gd name="T3" fmla="*/ 45 h 45"/>
                    <a:gd name="T4" fmla="*/ 0 w 154"/>
                    <a:gd name="T5" fmla="*/ 0 h 45"/>
                  </a:gdLst>
                  <a:ahLst/>
                  <a:cxnLst>
                    <a:cxn ang="0">
                      <a:pos x="T0" y="T1"/>
                    </a:cxn>
                    <a:cxn ang="0">
                      <a:pos x="T2" y="T3"/>
                    </a:cxn>
                    <a:cxn ang="0">
                      <a:pos x="T4" y="T5"/>
                    </a:cxn>
                  </a:cxnLst>
                  <a:rect l="0" t="0" r="r" b="b"/>
                  <a:pathLst>
                    <a:path w="154" h="45">
                      <a:moveTo>
                        <a:pt x="154" y="0"/>
                      </a:moveTo>
                      <a:lnTo>
                        <a:pt x="77" y="45"/>
                      </a:lnTo>
                      <a:lnTo>
                        <a:pt x="0" y="0"/>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8" name="Line 11"/>
                <p:cNvSpPr>
                  <a:spLocks noChangeShapeType="1"/>
                </p:cNvSpPr>
                <p:nvPr/>
              </p:nvSpPr>
              <p:spPr bwMode="auto">
                <a:xfrm>
                  <a:off x="88" y="98"/>
                  <a:ext cx="0" cy="88"/>
                </a:xfrm>
                <a:prstGeom prst="line">
                  <a:avLst/>
                </a:pr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grpSp>
        <p:grpSp>
          <p:nvGrpSpPr>
            <p:cNvPr id="205" name="Group 204"/>
            <p:cNvGrpSpPr/>
            <p:nvPr/>
          </p:nvGrpSpPr>
          <p:grpSpPr>
            <a:xfrm>
              <a:off x="7902002" y="4370861"/>
              <a:ext cx="269240" cy="228600"/>
              <a:chOff x="8055467" y="4882774"/>
              <a:chExt cx="269240" cy="228600"/>
            </a:xfrm>
          </p:grpSpPr>
          <p:cxnSp>
            <p:nvCxnSpPr>
              <p:cNvPr id="212" name="Straight Connector 211"/>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13" name="Straight Connector 212"/>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06" name="Group 205"/>
            <p:cNvGrpSpPr/>
            <p:nvPr/>
          </p:nvGrpSpPr>
          <p:grpSpPr>
            <a:xfrm>
              <a:off x="10253068" y="4370861"/>
              <a:ext cx="269240" cy="228600"/>
              <a:chOff x="8055467" y="4882774"/>
              <a:chExt cx="269240" cy="228600"/>
            </a:xfrm>
          </p:grpSpPr>
          <p:cxnSp>
            <p:nvCxnSpPr>
              <p:cNvPr id="210" name="Straight Connector 209"/>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11" name="Straight Connector 210"/>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07" name="Group 206"/>
            <p:cNvGrpSpPr/>
            <p:nvPr/>
          </p:nvGrpSpPr>
          <p:grpSpPr>
            <a:xfrm>
              <a:off x="9077535" y="3518859"/>
              <a:ext cx="269240" cy="228600"/>
              <a:chOff x="8055467" y="4882774"/>
              <a:chExt cx="269240" cy="228600"/>
            </a:xfrm>
          </p:grpSpPr>
          <p:cxnSp>
            <p:nvCxnSpPr>
              <p:cNvPr id="208" name="Straight Connector 207"/>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09" name="Straight Connector 208"/>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grpSp>
        <p:nvGrpSpPr>
          <p:cNvPr id="259" name="Group 258"/>
          <p:cNvGrpSpPr/>
          <p:nvPr/>
        </p:nvGrpSpPr>
        <p:grpSpPr>
          <a:xfrm>
            <a:off x="1690158" y="1150361"/>
            <a:ext cx="6943729" cy="5525750"/>
            <a:chOff x="5055270" y="757758"/>
            <a:chExt cx="7082965" cy="5636553"/>
          </a:xfrm>
        </p:grpSpPr>
        <p:sp>
          <p:nvSpPr>
            <p:cNvPr id="261" name="TextBox 260"/>
            <p:cNvSpPr txBox="1"/>
            <p:nvPr/>
          </p:nvSpPr>
          <p:spPr>
            <a:xfrm>
              <a:off x="7274749" y="757758"/>
              <a:ext cx="3898850" cy="634074"/>
            </a:xfrm>
            <a:prstGeom prst="rect">
              <a:avLst/>
            </a:prstGeom>
            <a:no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353535"/>
                      </a:gs>
                      <a:gs pos="100000">
                        <a:srgbClr val="353535"/>
                      </a:gs>
                    </a:gsLst>
                    <a:lin ang="5400000" scaled="0"/>
                  </a:gradFill>
                  <a:latin typeface="Segoe UI Semibold" panose="020B0702040204020203" pitchFamily="34" charset="0"/>
                  <a:cs typeface="Segoe UI Semibold" panose="020B0702040204020203" pitchFamily="34" charset="0"/>
                </a:rPr>
                <a:t>LIVE POWER BI REPORTS &amp; DASHBOARDS</a:t>
              </a:r>
            </a:p>
          </p:txBody>
        </p:sp>
        <p:grpSp>
          <p:nvGrpSpPr>
            <p:cNvPr id="260" name="Group 259"/>
            <p:cNvGrpSpPr/>
            <p:nvPr/>
          </p:nvGrpSpPr>
          <p:grpSpPr>
            <a:xfrm>
              <a:off x="7416800" y="1134319"/>
              <a:ext cx="3590710" cy="2324254"/>
              <a:chOff x="6009626" y="435651"/>
              <a:chExt cx="5334644" cy="3453095"/>
            </a:xfrm>
          </p:grpSpPr>
          <p:pic>
            <p:nvPicPr>
              <p:cNvPr id="324" name="Picture 3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20317" y="933610"/>
                <a:ext cx="3960237" cy="2394136"/>
              </a:xfrm>
              <a:prstGeom prst="rect">
                <a:avLst/>
              </a:prstGeom>
            </p:spPr>
          </p:pic>
          <p:pic>
            <p:nvPicPr>
              <p:cNvPr id="323" name="Device"/>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009626" y="435651"/>
                <a:ext cx="5334644" cy="3453095"/>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grpSp>
        <p:cxnSp>
          <p:nvCxnSpPr>
            <p:cNvPr id="262" name="Straight Connector 261"/>
            <p:cNvCxnSpPr>
              <a:cxnSpLocks/>
            </p:cNvCxnSpPr>
            <p:nvPr/>
          </p:nvCxnSpPr>
          <p:spPr>
            <a:xfrm>
              <a:off x="6286075" y="4026758"/>
              <a:ext cx="5852160" cy="0"/>
            </a:xfrm>
            <a:prstGeom prst="line">
              <a:avLst/>
            </a:prstGeom>
            <a:solidFill>
              <a:srgbClr val="FFFFFF"/>
            </a:solidFill>
            <a:ln w="12700" cap="flat" cmpd="sng" algn="ctr">
              <a:solidFill>
                <a:srgbClr val="353535"/>
              </a:solidFill>
              <a:prstDash val="dash"/>
              <a:headEnd type="none" w="med" len="med"/>
              <a:tailEnd type="none" w="med" len="med"/>
            </a:ln>
            <a:effectLst/>
          </p:spPr>
        </p:cxnSp>
        <p:sp>
          <p:nvSpPr>
            <p:cNvPr id="263" name="TextBox 262"/>
            <p:cNvSpPr txBox="1"/>
            <p:nvPr/>
          </p:nvSpPr>
          <p:spPr>
            <a:xfrm>
              <a:off x="7168459" y="3915128"/>
              <a:ext cx="4087393" cy="223260"/>
            </a:xfrm>
            <a:prstGeom prst="rect">
              <a:avLst/>
            </a:prstGeom>
            <a:solidFill>
              <a:srgbClr val="FFFFFF"/>
            </a:solid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LIVE CONNECTION OR SCHEDULED REFRESH</a:t>
              </a:r>
            </a:p>
          </p:txBody>
        </p:sp>
        <p:sp>
          <p:nvSpPr>
            <p:cNvPr id="264" name="TextBox 263"/>
            <p:cNvSpPr txBox="1"/>
            <p:nvPr/>
          </p:nvSpPr>
          <p:spPr>
            <a:xfrm>
              <a:off x="9730588" y="5808032"/>
              <a:ext cx="1313501" cy="489365"/>
            </a:xfrm>
            <a:prstGeom prst="rect">
              <a:avLst/>
            </a:prstGeom>
            <a:noFill/>
          </p:spPr>
          <p:txBody>
            <a:bodyPr wrap="none" lIns="179285" tIns="143428" rIns="179285" bIns="143428" rtlCol="0" anchor="ctr">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a:t>
              </a:r>
            </a:p>
          </p:txBody>
        </p:sp>
        <p:sp>
          <p:nvSpPr>
            <p:cNvPr id="265" name="TextBox 264"/>
            <p:cNvSpPr txBox="1"/>
            <p:nvPr/>
          </p:nvSpPr>
          <p:spPr>
            <a:xfrm>
              <a:off x="6928270" y="5711120"/>
              <a:ext cx="2290630" cy="683191"/>
            </a:xfrm>
            <a:prstGeom prst="rect">
              <a:avLst/>
            </a:prstGeom>
            <a:noFill/>
          </p:spPr>
          <p:txBody>
            <a:bodyPr wrap="none" lIns="179285" tIns="143428" rIns="179285" bIns="143428" rtlCol="0" anchor="ctr">
              <a:spAutoFit/>
            </a:bodyPr>
            <a:lstStyle/>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SSAS tabular/ </a:t>
              </a:r>
            </a:p>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multidimensional model</a:t>
              </a:r>
            </a:p>
          </p:txBody>
        </p:sp>
        <p:grpSp>
          <p:nvGrpSpPr>
            <p:cNvPr id="266" name="Group 265"/>
            <p:cNvGrpSpPr/>
            <p:nvPr/>
          </p:nvGrpSpPr>
          <p:grpSpPr>
            <a:xfrm>
              <a:off x="5392414" y="2693914"/>
              <a:ext cx="810122" cy="1087479"/>
              <a:chOff x="5392414" y="3039354"/>
              <a:chExt cx="810122" cy="1087479"/>
            </a:xfrm>
          </p:grpSpPr>
          <p:grpSp>
            <p:nvGrpSpPr>
              <p:cNvPr id="319" name="Group 318"/>
              <p:cNvGrpSpPr/>
              <p:nvPr/>
            </p:nvGrpSpPr>
            <p:grpSpPr>
              <a:xfrm>
                <a:off x="5454575" y="3441033"/>
                <a:ext cx="685800" cy="685800"/>
                <a:chOff x="5430754" y="3441033"/>
                <a:chExt cx="685800" cy="685800"/>
              </a:xfrm>
            </p:grpSpPr>
            <p:sp>
              <p:nvSpPr>
                <p:cNvPr id="321" name="Oval 320"/>
                <p:cNvSpPr/>
                <p:nvPr/>
              </p:nvSpPr>
              <p:spPr bwMode="auto">
                <a:xfrm>
                  <a:off x="5430754" y="3441033"/>
                  <a:ext cx="685800" cy="6858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sp>
              <p:nvSpPr>
                <p:cNvPr id="322" name="Freeform 5"/>
                <p:cNvSpPr>
                  <a:spLocks/>
                </p:cNvSpPr>
                <p:nvPr/>
              </p:nvSpPr>
              <p:spPr bwMode="auto">
                <a:xfrm>
                  <a:off x="5561298" y="3640785"/>
                  <a:ext cx="424712" cy="286296"/>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sp>
            <p:nvSpPr>
              <p:cNvPr id="320" name="Rectangle 319"/>
              <p:cNvSpPr/>
              <p:nvPr/>
            </p:nvSpPr>
            <p:spPr>
              <a:xfrm>
                <a:off x="5392414" y="3039354"/>
                <a:ext cx="810122"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Cloud</a:t>
                </a:r>
              </a:p>
            </p:txBody>
          </p:sp>
        </p:grpSp>
        <p:grpSp>
          <p:nvGrpSpPr>
            <p:cNvPr id="267" name="Group 266"/>
            <p:cNvGrpSpPr/>
            <p:nvPr/>
          </p:nvGrpSpPr>
          <p:grpSpPr>
            <a:xfrm>
              <a:off x="5454575" y="4285597"/>
              <a:ext cx="685800" cy="685800"/>
              <a:chOff x="5430754" y="4631037"/>
              <a:chExt cx="685800" cy="685800"/>
            </a:xfrm>
          </p:grpSpPr>
          <p:sp>
            <p:nvSpPr>
              <p:cNvPr id="289" name="Oval 288"/>
              <p:cNvSpPr/>
              <p:nvPr/>
            </p:nvSpPr>
            <p:spPr bwMode="auto">
              <a:xfrm>
                <a:off x="5430754" y="4631037"/>
                <a:ext cx="685800" cy="6858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290" name="Group 289"/>
              <p:cNvGrpSpPr/>
              <p:nvPr/>
            </p:nvGrpSpPr>
            <p:grpSpPr>
              <a:xfrm>
                <a:off x="5583921" y="4790476"/>
                <a:ext cx="379466" cy="366923"/>
                <a:chOff x="1071984" y="3981142"/>
                <a:chExt cx="234107" cy="226369"/>
              </a:xfrm>
            </p:grpSpPr>
            <p:sp>
              <p:nvSpPr>
                <p:cNvPr id="291" name="Rectangle 56"/>
                <p:cNvSpPr>
                  <a:spLocks noChangeArrowheads="1"/>
                </p:cNvSpPr>
                <p:nvPr/>
              </p:nvSpPr>
              <p:spPr bwMode="auto">
                <a:xfrm>
                  <a:off x="1149375" y="4002425"/>
                  <a:ext cx="104478" cy="205086"/>
                </a:xfrm>
                <a:prstGeom prst="rect">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2"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3"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4"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5" name="Rectangle 60"/>
                <p:cNvSpPr>
                  <a:spLocks noChangeArrowheads="1"/>
                </p:cNvSpPr>
                <p:nvPr/>
              </p:nvSpPr>
              <p:spPr bwMode="auto">
                <a:xfrm>
                  <a:off x="1168722" y="3981142"/>
                  <a:ext cx="29989" cy="21282"/>
                </a:xfrm>
                <a:prstGeom prst="rect">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6" name="Rectangle 61"/>
                <p:cNvSpPr>
                  <a:spLocks noChangeArrowheads="1"/>
                </p:cNvSpPr>
                <p:nvPr/>
              </p:nvSpPr>
              <p:spPr bwMode="auto">
                <a:xfrm>
                  <a:off x="1226765" y="402080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7" name="Rectangle 62"/>
                <p:cNvSpPr>
                  <a:spLocks noChangeArrowheads="1"/>
                </p:cNvSpPr>
                <p:nvPr/>
              </p:nvSpPr>
              <p:spPr bwMode="auto">
                <a:xfrm>
                  <a:off x="1226765" y="4048861"/>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8" name="Rectangle 63"/>
                <p:cNvSpPr>
                  <a:spLocks noChangeArrowheads="1"/>
                </p:cNvSpPr>
                <p:nvPr/>
              </p:nvSpPr>
              <p:spPr bwMode="auto">
                <a:xfrm>
                  <a:off x="1226765" y="4075945"/>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9" name="Rectangle 64"/>
                <p:cNvSpPr>
                  <a:spLocks noChangeArrowheads="1"/>
                </p:cNvSpPr>
                <p:nvPr/>
              </p:nvSpPr>
              <p:spPr bwMode="auto">
                <a:xfrm>
                  <a:off x="1226765"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0" name="Rectangle 65"/>
                <p:cNvSpPr>
                  <a:spLocks noChangeArrowheads="1"/>
                </p:cNvSpPr>
                <p:nvPr/>
              </p:nvSpPr>
              <p:spPr bwMode="auto">
                <a:xfrm>
                  <a:off x="1226765"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1" name="Rectangle 66"/>
                <p:cNvSpPr>
                  <a:spLocks noChangeArrowheads="1"/>
                </p:cNvSpPr>
                <p:nvPr/>
              </p:nvSpPr>
              <p:spPr bwMode="auto">
                <a:xfrm>
                  <a:off x="1166788" y="402080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2" name="Rectangle 67"/>
                <p:cNvSpPr>
                  <a:spLocks noChangeArrowheads="1"/>
                </p:cNvSpPr>
                <p:nvPr/>
              </p:nvSpPr>
              <p:spPr bwMode="auto">
                <a:xfrm>
                  <a:off x="1166788" y="4048861"/>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3" name="Rectangle 68"/>
                <p:cNvSpPr>
                  <a:spLocks noChangeArrowheads="1"/>
                </p:cNvSpPr>
                <p:nvPr/>
              </p:nvSpPr>
              <p:spPr bwMode="auto">
                <a:xfrm>
                  <a:off x="1166788" y="4075945"/>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4" name="Rectangle 69"/>
                <p:cNvSpPr>
                  <a:spLocks noChangeArrowheads="1"/>
                </p:cNvSpPr>
                <p:nvPr/>
              </p:nvSpPr>
              <p:spPr bwMode="auto">
                <a:xfrm>
                  <a:off x="1166788"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5" name="Rectangle 70"/>
                <p:cNvSpPr>
                  <a:spLocks noChangeArrowheads="1"/>
                </p:cNvSpPr>
                <p:nvPr/>
              </p:nvSpPr>
              <p:spPr bwMode="auto">
                <a:xfrm>
                  <a:off x="1166788"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6" name="Rectangle 71"/>
                <p:cNvSpPr>
                  <a:spLocks noChangeArrowheads="1"/>
                </p:cNvSpPr>
                <p:nvPr/>
              </p:nvSpPr>
              <p:spPr bwMode="auto">
                <a:xfrm>
                  <a:off x="1195809" y="402080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7" name="Rectangle 72"/>
                <p:cNvSpPr>
                  <a:spLocks noChangeArrowheads="1"/>
                </p:cNvSpPr>
                <p:nvPr/>
              </p:nvSpPr>
              <p:spPr bwMode="auto">
                <a:xfrm>
                  <a:off x="1195809" y="4048861"/>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8" name="Rectangle 73"/>
                <p:cNvSpPr>
                  <a:spLocks noChangeArrowheads="1"/>
                </p:cNvSpPr>
                <p:nvPr/>
              </p:nvSpPr>
              <p:spPr bwMode="auto">
                <a:xfrm>
                  <a:off x="1195809" y="4075945"/>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9" name="Rectangle 74"/>
                <p:cNvSpPr>
                  <a:spLocks noChangeArrowheads="1"/>
                </p:cNvSpPr>
                <p:nvPr/>
              </p:nvSpPr>
              <p:spPr bwMode="auto">
                <a:xfrm>
                  <a:off x="1195809"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0" name="Rectangle 75"/>
                <p:cNvSpPr>
                  <a:spLocks noChangeArrowheads="1"/>
                </p:cNvSpPr>
                <p:nvPr/>
              </p:nvSpPr>
              <p:spPr bwMode="auto">
                <a:xfrm>
                  <a:off x="1195809"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1" name="Rectangle 76"/>
                <p:cNvSpPr>
                  <a:spLocks noChangeArrowheads="1"/>
                </p:cNvSpPr>
                <p:nvPr/>
              </p:nvSpPr>
              <p:spPr bwMode="auto">
                <a:xfrm>
                  <a:off x="1090365" y="407594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2" name="Rectangle 77"/>
                <p:cNvSpPr>
                  <a:spLocks noChangeArrowheads="1"/>
                </p:cNvSpPr>
                <p:nvPr/>
              </p:nvSpPr>
              <p:spPr bwMode="auto">
                <a:xfrm>
                  <a:off x="1090365"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3" name="Rectangle 78"/>
                <p:cNvSpPr>
                  <a:spLocks noChangeArrowheads="1"/>
                </p:cNvSpPr>
                <p:nvPr/>
              </p:nvSpPr>
              <p:spPr bwMode="auto">
                <a:xfrm>
                  <a:off x="1090365"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4" name="Rectangle 79"/>
                <p:cNvSpPr>
                  <a:spLocks noChangeArrowheads="1"/>
                </p:cNvSpPr>
                <p:nvPr/>
              </p:nvSpPr>
              <p:spPr bwMode="auto">
                <a:xfrm>
                  <a:off x="1119386" y="407594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5" name="Rectangle 80"/>
                <p:cNvSpPr>
                  <a:spLocks noChangeArrowheads="1"/>
                </p:cNvSpPr>
                <p:nvPr/>
              </p:nvSpPr>
              <p:spPr bwMode="auto">
                <a:xfrm>
                  <a:off x="1119386"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6" name="Rectangle 81"/>
                <p:cNvSpPr>
                  <a:spLocks noChangeArrowheads="1"/>
                </p:cNvSpPr>
                <p:nvPr/>
              </p:nvSpPr>
              <p:spPr bwMode="auto">
                <a:xfrm>
                  <a:off x="1119386"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7" name="Rectangle 82"/>
                <p:cNvSpPr>
                  <a:spLocks noChangeArrowheads="1"/>
                </p:cNvSpPr>
                <p:nvPr/>
              </p:nvSpPr>
              <p:spPr bwMode="auto">
                <a:xfrm>
                  <a:off x="1090365" y="4158174"/>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8" name="Rectangle 83"/>
                <p:cNvSpPr>
                  <a:spLocks noChangeArrowheads="1"/>
                </p:cNvSpPr>
                <p:nvPr/>
              </p:nvSpPr>
              <p:spPr bwMode="auto">
                <a:xfrm>
                  <a:off x="1119386" y="4158174"/>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grpSp>
        </p:grpSp>
        <p:sp>
          <p:nvSpPr>
            <p:cNvPr id="268" name="Rectangle 267"/>
            <p:cNvSpPr/>
            <p:nvPr/>
          </p:nvSpPr>
          <p:spPr>
            <a:xfrm>
              <a:off x="5055270" y="5011107"/>
              <a:ext cx="1484410"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On-premises</a:t>
              </a:r>
            </a:p>
          </p:txBody>
        </p:sp>
        <p:grpSp>
          <p:nvGrpSpPr>
            <p:cNvPr id="269" name="Group 268"/>
            <p:cNvGrpSpPr/>
            <p:nvPr/>
          </p:nvGrpSpPr>
          <p:grpSpPr>
            <a:xfrm>
              <a:off x="9942474" y="4853209"/>
              <a:ext cx="890428" cy="895100"/>
              <a:chOff x="10207166" y="5203693"/>
              <a:chExt cx="890428" cy="895100"/>
            </a:xfrm>
          </p:grpSpPr>
          <p:sp>
            <p:nvSpPr>
              <p:cNvPr id="285" name="Oval 284"/>
              <p:cNvSpPr>
                <a:spLocks noChangeArrowheads="1"/>
              </p:cNvSpPr>
              <p:nvPr/>
            </p:nvSpPr>
            <p:spPr bwMode="auto">
              <a:xfrm>
                <a:off x="10207166" y="5203693"/>
                <a:ext cx="890428" cy="8951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a:gradFill>
                    <a:gsLst>
                      <a:gs pos="5439">
                        <a:srgbClr val="F8F8F8"/>
                      </a:gs>
                      <a:gs pos="10000">
                        <a:srgbClr val="F8F8F8"/>
                      </a:gs>
                    </a:gsLst>
                    <a:lin ang="5400000" scaled="0"/>
                  </a:gradFill>
                  <a:latin typeface="Segoe UI"/>
                </a:endParaRPr>
              </a:p>
            </p:txBody>
          </p:sp>
          <p:grpSp>
            <p:nvGrpSpPr>
              <p:cNvPr id="286" name="Group 285"/>
              <p:cNvGrpSpPr/>
              <p:nvPr/>
            </p:nvGrpSpPr>
            <p:grpSpPr>
              <a:xfrm>
                <a:off x="10454465" y="5450012"/>
                <a:ext cx="395831" cy="402463"/>
                <a:chOff x="6240712" y="2387043"/>
                <a:chExt cx="395831" cy="402463"/>
              </a:xfrm>
            </p:grpSpPr>
            <p:sp>
              <p:nvSpPr>
                <p:cNvPr id="287" name="Freeform: Shape 286"/>
                <p:cNvSpPr/>
                <p:nvPr/>
              </p:nvSpPr>
              <p:spPr bwMode="auto">
                <a:xfrm>
                  <a:off x="6240712" y="2469912"/>
                  <a:ext cx="395831" cy="319594"/>
                </a:xfrm>
                <a:custGeom>
                  <a:avLst/>
                  <a:gdLst>
                    <a:gd name="connsiteX0" fmla="*/ 0 w 395831"/>
                    <a:gd name="connsiteY0" fmla="*/ 0 h 319594"/>
                    <a:gd name="connsiteX1" fmla="*/ 395831 w 395831"/>
                    <a:gd name="connsiteY1" fmla="*/ 0 h 319594"/>
                    <a:gd name="connsiteX2" fmla="*/ 395831 w 395831"/>
                    <a:gd name="connsiteY2" fmla="*/ 234599 h 319594"/>
                    <a:gd name="connsiteX3" fmla="*/ 395131 w 395831"/>
                    <a:gd name="connsiteY3" fmla="*/ 234599 h 319594"/>
                    <a:gd name="connsiteX4" fmla="*/ 197566 w 395831"/>
                    <a:gd name="connsiteY4" fmla="*/ 319594 h 319594"/>
                    <a:gd name="connsiteX5" fmla="*/ 1 w 395831"/>
                    <a:gd name="connsiteY5" fmla="*/ 234599 h 319594"/>
                    <a:gd name="connsiteX6" fmla="*/ 0 w 395831"/>
                    <a:gd name="connsiteY6" fmla="*/ 234599 h 3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831" h="319594">
                      <a:moveTo>
                        <a:pt x="0" y="0"/>
                      </a:moveTo>
                      <a:lnTo>
                        <a:pt x="395831" y="0"/>
                      </a:lnTo>
                      <a:lnTo>
                        <a:pt x="395831" y="234599"/>
                      </a:lnTo>
                      <a:lnTo>
                        <a:pt x="395131" y="234599"/>
                      </a:lnTo>
                      <a:cubicBezTo>
                        <a:pt x="395131" y="281540"/>
                        <a:pt x="306678" y="319594"/>
                        <a:pt x="197566" y="319594"/>
                      </a:cubicBezTo>
                      <a:cubicBezTo>
                        <a:pt x="88454" y="319594"/>
                        <a:pt x="1" y="281540"/>
                        <a:pt x="1" y="234599"/>
                      </a:cubicBezTo>
                      <a:lnTo>
                        <a:pt x="0" y="234599"/>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288" name="Oval 287"/>
                <p:cNvSpPr/>
                <p:nvPr/>
              </p:nvSpPr>
              <p:spPr bwMode="auto">
                <a:xfrm>
                  <a:off x="6240713" y="2387043"/>
                  <a:ext cx="395130" cy="169990"/>
                </a:xfrm>
                <a:prstGeom prst="ellipse">
                  <a:avLst/>
                </a:prstGeom>
                <a:solidFill>
                  <a:srgbClr val="FFFFFF"/>
                </a:solidFill>
                <a:ln w="15875" cap="flat">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grpSp>
        <p:grpSp>
          <p:nvGrpSpPr>
            <p:cNvPr id="270" name="Group 269"/>
            <p:cNvGrpSpPr/>
            <p:nvPr/>
          </p:nvGrpSpPr>
          <p:grpSpPr>
            <a:xfrm>
              <a:off x="7591408" y="4853209"/>
              <a:ext cx="890428" cy="895100"/>
              <a:chOff x="7553884" y="5203693"/>
              <a:chExt cx="890428" cy="895100"/>
            </a:xfrm>
          </p:grpSpPr>
          <p:sp>
            <p:nvSpPr>
              <p:cNvPr id="280" name="Oval 279"/>
              <p:cNvSpPr>
                <a:spLocks noChangeArrowheads="1"/>
              </p:cNvSpPr>
              <p:nvPr/>
            </p:nvSpPr>
            <p:spPr bwMode="auto">
              <a:xfrm>
                <a:off x="7553884" y="5203693"/>
                <a:ext cx="890428" cy="8951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a:gradFill>
                    <a:gsLst>
                      <a:gs pos="5439">
                        <a:srgbClr val="F8F8F8"/>
                      </a:gs>
                      <a:gs pos="10000">
                        <a:srgbClr val="F8F8F8"/>
                      </a:gs>
                    </a:gsLst>
                    <a:lin ang="5400000" scaled="0"/>
                  </a:gradFill>
                  <a:latin typeface="Segoe UI"/>
                </a:endParaRPr>
              </a:p>
            </p:txBody>
          </p:sp>
          <p:grpSp>
            <p:nvGrpSpPr>
              <p:cNvPr id="281" name="Group 8"/>
              <p:cNvGrpSpPr>
                <a:grpSpLocks noChangeAspect="1"/>
              </p:cNvGrpSpPr>
              <p:nvPr/>
            </p:nvGrpSpPr>
            <p:grpSpPr bwMode="auto">
              <a:xfrm>
                <a:off x="7788838" y="5417041"/>
                <a:ext cx="424356" cy="490489"/>
                <a:chOff x="11" y="8"/>
                <a:chExt cx="154" cy="178"/>
              </a:xfrm>
            </p:grpSpPr>
            <p:sp>
              <p:nvSpPr>
                <p:cNvPr id="282" name="Freeform 9"/>
                <p:cNvSpPr>
                  <a:spLocks/>
                </p:cNvSpPr>
                <p:nvPr/>
              </p:nvSpPr>
              <p:spPr bwMode="auto">
                <a:xfrm>
                  <a:off x="11" y="8"/>
                  <a:ext cx="154" cy="178"/>
                </a:xfrm>
                <a:custGeom>
                  <a:avLst/>
                  <a:gdLst>
                    <a:gd name="T0" fmla="*/ 0 w 154"/>
                    <a:gd name="T1" fmla="*/ 45 h 178"/>
                    <a:gd name="T2" fmla="*/ 77 w 154"/>
                    <a:gd name="T3" fmla="*/ 0 h 178"/>
                    <a:gd name="T4" fmla="*/ 154 w 154"/>
                    <a:gd name="T5" fmla="*/ 45 h 178"/>
                    <a:gd name="T6" fmla="*/ 154 w 154"/>
                    <a:gd name="T7" fmla="*/ 136 h 178"/>
                    <a:gd name="T8" fmla="*/ 77 w 154"/>
                    <a:gd name="T9" fmla="*/ 178 h 178"/>
                    <a:gd name="T10" fmla="*/ 0 w 154"/>
                    <a:gd name="T11" fmla="*/ 136 h 178"/>
                    <a:gd name="T12" fmla="*/ 0 w 154"/>
                    <a:gd name="T13" fmla="*/ 45 h 178"/>
                  </a:gdLst>
                  <a:ahLst/>
                  <a:cxnLst>
                    <a:cxn ang="0">
                      <a:pos x="T0" y="T1"/>
                    </a:cxn>
                    <a:cxn ang="0">
                      <a:pos x="T2" y="T3"/>
                    </a:cxn>
                    <a:cxn ang="0">
                      <a:pos x="T4" y="T5"/>
                    </a:cxn>
                    <a:cxn ang="0">
                      <a:pos x="T6" y="T7"/>
                    </a:cxn>
                    <a:cxn ang="0">
                      <a:pos x="T8" y="T9"/>
                    </a:cxn>
                    <a:cxn ang="0">
                      <a:pos x="T10" y="T11"/>
                    </a:cxn>
                    <a:cxn ang="0">
                      <a:pos x="T12" y="T13"/>
                    </a:cxn>
                  </a:cxnLst>
                  <a:rect l="0" t="0" r="r" b="b"/>
                  <a:pathLst>
                    <a:path w="154" h="178">
                      <a:moveTo>
                        <a:pt x="0" y="45"/>
                      </a:moveTo>
                      <a:lnTo>
                        <a:pt x="77" y="0"/>
                      </a:lnTo>
                      <a:lnTo>
                        <a:pt x="154" y="45"/>
                      </a:lnTo>
                      <a:lnTo>
                        <a:pt x="154" y="136"/>
                      </a:lnTo>
                      <a:lnTo>
                        <a:pt x="77" y="178"/>
                      </a:lnTo>
                      <a:lnTo>
                        <a:pt x="0" y="136"/>
                      </a:lnTo>
                      <a:lnTo>
                        <a:pt x="0" y="45"/>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83" name="Freeform 10"/>
                <p:cNvSpPr>
                  <a:spLocks/>
                </p:cNvSpPr>
                <p:nvPr/>
              </p:nvSpPr>
              <p:spPr bwMode="auto">
                <a:xfrm>
                  <a:off x="11" y="53"/>
                  <a:ext cx="154" cy="45"/>
                </a:xfrm>
                <a:custGeom>
                  <a:avLst/>
                  <a:gdLst>
                    <a:gd name="T0" fmla="*/ 154 w 154"/>
                    <a:gd name="T1" fmla="*/ 0 h 45"/>
                    <a:gd name="T2" fmla="*/ 77 w 154"/>
                    <a:gd name="T3" fmla="*/ 45 h 45"/>
                    <a:gd name="T4" fmla="*/ 0 w 154"/>
                    <a:gd name="T5" fmla="*/ 0 h 45"/>
                  </a:gdLst>
                  <a:ahLst/>
                  <a:cxnLst>
                    <a:cxn ang="0">
                      <a:pos x="T0" y="T1"/>
                    </a:cxn>
                    <a:cxn ang="0">
                      <a:pos x="T2" y="T3"/>
                    </a:cxn>
                    <a:cxn ang="0">
                      <a:pos x="T4" y="T5"/>
                    </a:cxn>
                  </a:cxnLst>
                  <a:rect l="0" t="0" r="r" b="b"/>
                  <a:pathLst>
                    <a:path w="154" h="45">
                      <a:moveTo>
                        <a:pt x="154" y="0"/>
                      </a:moveTo>
                      <a:lnTo>
                        <a:pt x="77" y="45"/>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84" name="Line 11"/>
                <p:cNvSpPr>
                  <a:spLocks noChangeShapeType="1"/>
                </p:cNvSpPr>
                <p:nvPr/>
              </p:nvSpPr>
              <p:spPr bwMode="auto">
                <a:xfrm>
                  <a:off x="88" y="98"/>
                  <a:ext cx="0" cy="88"/>
                </a:xfrm>
                <a:prstGeom prst="line">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grpSp>
        <p:grpSp>
          <p:nvGrpSpPr>
            <p:cNvPr id="271" name="Group 270"/>
            <p:cNvGrpSpPr/>
            <p:nvPr/>
          </p:nvGrpSpPr>
          <p:grpSpPr>
            <a:xfrm>
              <a:off x="7902002" y="4370861"/>
              <a:ext cx="269240" cy="228600"/>
              <a:chOff x="8055467" y="4882774"/>
              <a:chExt cx="269240" cy="228600"/>
            </a:xfrm>
          </p:grpSpPr>
          <p:cxnSp>
            <p:nvCxnSpPr>
              <p:cNvPr id="278" name="Straight Connector 277"/>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79" name="Straight Connector 278"/>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72" name="Group 271"/>
            <p:cNvGrpSpPr/>
            <p:nvPr/>
          </p:nvGrpSpPr>
          <p:grpSpPr>
            <a:xfrm>
              <a:off x="10253068" y="4370861"/>
              <a:ext cx="269240" cy="228600"/>
              <a:chOff x="8055467" y="4882774"/>
              <a:chExt cx="269240" cy="228600"/>
            </a:xfrm>
          </p:grpSpPr>
          <p:cxnSp>
            <p:nvCxnSpPr>
              <p:cNvPr id="276" name="Straight Connector 275"/>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77" name="Straight Connector 276"/>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73" name="Group 272"/>
            <p:cNvGrpSpPr/>
            <p:nvPr/>
          </p:nvGrpSpPr>
          <p:grpSpPr>
            <a:xfrm>
              <a:off x="9077535" y="3498981"/>
              <a:ext cx="269240" cy="228600"/>
              <a:chOff x="8055467" y="4862896"/>
              <a:chExt cx="269240" cy="228600"/>
            </a:xfrm>
          </p:grpSpPr>
          <p:cxnSp>
            <p:nvCxnSpPr>
              <p:cNvPr id="274" name="Straight Connector 273"/>
              <p:cNvCxnSpPr>
                <a:cxnSpLocks/>
              </p:cNvCxnSpPr>
              <p:nvPr/>
            </p:nvCxnSpPr>
            <p:spPr>
              <a:xfrm>
                <a:off x="8055467" y="4862896"/>
                <a:ext cx="0" cy="228600"/>
              </a:xfrm>
              <a:prstGeom prst="line">
                <a:avLst/>
              </a:prstGeom>
              <a:noFill/>
              <a:ln w="19050" cap="flat" cmpd="sng" algn="ctr">
                <a:solidFill>
                  <a:srgbClr val="353535"/>
                </a:solidFill>
                <a:prstDash val="solid"/>
                <a:headEnd type="none" w="lg" len="med"/>
                <a:tailEnd type="arrow" w="lg" len="med"/>
              </a:ln>
              <a:effectLst/>
            </p:spPr>
          </p:cxnSp>
          <p:cxnSp>
            <p:nvCxnSpPr>
              <p:cNvPr id="275" name="Straight Connector 274"/>
              <p:cNvCxnSpPr>
                <a:cxnSpLocks/>
              </p:cNvCxnSpPr>
              <p:nvPr/>
            </p:nvCxnSpPr>
            <p:spPr>
              <a:xfrm flipV="1">
                <a:off x="8324707" y="4862896"/>
                <a:ext cx="0" cy="228600"/>
              </a:xfrm>
              <a:prstGeom prst="line">
                <a:avLst/>
              </a:prstGeom>
              <a:noFill/>
              <a:ln w="19050" cap="flat" cmpd="sng" algn="ctr">
                <a:solidFill>
                  <a:srgbClr val="353535"/>
                </a:solidFill>
                <a:prstDash val="solid"/>
                <a:headEnd type="none" w="lg" len="med"/>
                <a:tailEnd type="arrow" w="lg" len="med"/>
              </a:ln>
              <a:effectLst/>
            </p:spPr>
          </p:cxnSp>
        </p:grpSp>
      </p:grpSp>
      <p:sp>
        <p:nvSpPr>
          <p:cNvPr id="325" name="TextBox 324"/>
          <p:cNvSpPr txBox="1"/>
          <p:nvPr/>
        </p:nvSpPr>
        <p:spPr>
          <a:xfrm>
            <a:off x="9230588" y="3679699"/>
            <a:ext cx="1651535" cy="280605"/>
          </a:xfrm>
          <a:prstGeom prst="rect">
            <a:avLst/>
          </a:prstGeom>
          <a:noFill/>
        </p:spPr>
        <p:txBody>
          <a:bodyPr wrap="square" rtlCol="0">
            <a:spAutoFit/>
          </a:bodyPr>
          <a:lstStyle/>
          <a:p>
            <a:pPr defTabSz="861416">
              <a:lnSpc>
                <a:spcPct val="90000"/>
              </a:lnSpc>
              <a:spcAft>
                <a:spcPts val="565"/>
              </a:spcAft>
              <a:defRPr/>
            </a:pPr>
            <a:r>
              <a:rPr lang="en-US" sz="1372" b="1" kern="0" dirty="0">
                <a:gradFill>
                  <a:gsLst>
                    <a:gs pos="2917">
                      <a:srgbClr val="353535"/>
                    </a:gs>
                    <a:gs pos="100000">
                      <a:srgbClr val="353535"/>
                    </a:gs>
                  </a:gsLst>
                  <a:lin ang="5400000" scaled="0"/>
                </a:gradFill>
                <a:latin typeface="Segoe UI"/>
                <a:cs typeface="Segoe UI Semilight" panose="020B0402040204020203" pitchFamily="34" charset="0"/>
              </a:rPr>
              <a:t>Azure Service Bus</a:t>
            </a:r>
          </a:p>
        </p:txBody>
      </p:sp>
      <p:sp>
        <p:nvSpPr>
          <p:cNvPr id="326" name="TextBox 325"/>
          <p:cNvSpPr txBox="1"/>
          <p:nvPr/>
        </p:nvSpPr>
        <p:spPr>
          <a:xfrm>
            <a:off x="9230588" y="5140906"/>
            <a:ext cx="2671445" cy="926300"/>
          </a:xfrm>
          <a:prstGeom prst="rect">
            <a:avLst/>
          </a:prstGeom>
          <a:noFill/>
        </p:spPr>
        <p:txBody>
          <a:bodyPr wrap="square" rtlCol="0">
            <a:spAutoFit/>
          </a:bodyPr>
          <a:lstStyle/>
          <a:p>
            <a:pPr defTabSz="861416">
              <a:lnSpc>
                <a:spcPct val="90000"/>
              </a:lnSpc>
              <a:spcAft>
                <a:spcPts val="565"/>
              </a:spcAft>
              <a:defRPr/>
            </a:pPr>
            <a:r>
              <a:rPr lang="en-US" sz="1372" b="1" kern="0" dirty="0">
                <a:gradFill>
                  <a:gsLst>
                    <a:gs pos="2917">
                      <a:srgbClr val="353535"/>
                    </a:gs>
                    <a:gs pos="100000">
                      <a:srgbClr val="353535"/>
                    </a:gs>
                  </a:gsLst>
                  <a:lin ang="5400000" scaled="0"/>
                </a:gradFill>
                <a:latin typeface="Segoe UI"/>
                <a:cs typeface="Segoe UI Semilight" panose="020B0402040204020203" pitchFamily="34" charset="0"/>
              </a:rPr>
              <a:t>Application Gateway</a:t>
            </a:r>
          </a:p>
          <a:p>
            <a:pP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 connection credentials can only be decrypted by the gateway</a:t>
            </a:r>
          </a:p>
        </p:txBody>
      </p:sp>
      <p:sp>
        <p:nvSpPr>
          <p:cNvPr id="327" name="TextBox 326"/>
          <p:cNvSpPr txBox="1"/>
          <p:nvPr/>
        </p:nvSpPr>
        <p:spPr>
          <a:xfrm>
            <a:off x="9230588" y="2428987"/>
            <a:ext cx="2380517" cy="736212"/>
          </a:xfrm>
          <a:prstGeom prst="rect">
            <a:avLst/>
          </a:prstGeom>
          <a:noFill/>
        </p:spPr>
        <p:txBody>
          <a:bodyPr wrap="square" rtlCol="0">
            <a:spAutoFit/>
          </a:bodyPr>
          <a:lstStyle/>
          <a:p>
            <a:pPr defTabSz="861416">
              <a:lnSpc>
                <a:spcPct val="90000"/>
              </a:lnSpc>
              <a:spcAft>
                <a:spcPts val="565"/>
              </a:spcAft>
              <a:defRPr/>
            </a:pPr>
            <a:r>
              <a:rPr lang="en-US" sz="1372" b="1" kern="0" dirty="0">
                <a:gradFill>
                  <a:gsLst>
                    <a:gs pos="2917">
                      <a:srgbClr val="353535"/>
                    </a:gs>
                    <a:gs pos="100000">
                      <a:srgbClr val="353535"/>
                    </a:gs>
                  </a:gsLst>
                  <a:lin ang="5400000" scaled="0"/>
                </a:gradFill>
                <a:latin typeface="Segoe UI"/>
                <a:cs typeface="Segoe UI Semilight" panose="020B0402040204020203" pitchFamily="34" charset="0"/>
              </a:rPr>
              <a:t>Gateway Cloud Service</a:t>
            </a:r>
          </a:p>
          <a:p>
            <a:pP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 connection credentials are encrypted</a:t>
            </a:r>
          </a:p>
        </p:txBody>
      </p:sp>
      <p:grpSp>
        <p:nvGrpSpPr>
          <p:cNvPr id="352" name="Group 351"/>
          <p:cNvGrpSpPr/>
          <p:nvPr/>
        </p:nvGrpSpPr>
        <p:grpSpPr>
          <a:xfrm>
            <a:off x="8265167" y="3454351"/>
            <a:ext cx="712686" cy="712686"/>
            <a:chOff x="6232278" y="3447250"/>
            <a:chExt cx="726977" cy="726977"/>
          </a:xfrm>
        </p:grpSpPr>
        <p:sp>
          <p:nvSpPr>
            <p:cNvPr id="353" name="Oval 352"/>
            <p:cNvSpPr/>
            <p:nvPr/>
          </p:nvSpPr>
          <p:spPr bwMode="auto">
            <a:xfrm>
              <a:off x="6232278" y="3447250"/>
              <a:ext cx="726977" cy="726977"/>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354" name="Group 13"/>
            <p:cNvGrpSpPr>
              <a:grpSpLocks noChangeAspect="1"/>
            </p:cNvGrpSpPr>
            <p:nvPr/>
          </p:nvGrpSpPr>
          <p:grpSpPr bwMode="auto">
            <a:xfrm>
              <a:off x="6397711" y="3602032"/>
              <a:ext cx="396110" cy="467205"/>
              <a:chOff x="3889" y="2349"/>
              <a:chExt cx="351" cy="414"/>
            </a:xfrm>
            <a:solidFill>
              <a:schemeClr val="tx1"/>
            </a:solidFill>
          </p:grpSpPr>
          <p:sp>
            <p:nvSpPr>
              <p:cNvPr id="355" name="Freeform 14"/>
              <p:cNvSpPr>
                <a:spLocks/>
              </p:cNvSpPr>
              <p:nvPr/>
            </p:nvSpPr>
            <p:spPr bwMode="auto">
              <a:xfrm>
                <a:off x="3956" y="2598"/>
                <a:ext cx="116" cy="165"/>
              </a:xfrm>
              <a:custGeom>
                <a:avLst/>
                <a:gdLst>
                  <a:gd name="T0" fmla="*/ 76 w 116"/>
                  <a:gd name="T1" fmla="*/ 0 h 165"/>
                  <a:gd name="T2" fmla="*/ 35 w 116"/>
                  <a:gd name="T3" fmla="*/ 0 h 165"/>
                  <a:gd name="T4" fmla="*/ 35 w 116"/>
                  <a:gd name="T5" fmla="*/ 86 h 165"/>
                  <a:gd name="T6" fmla="*/ 0 w 116"/>
                  <a:gd name="T7" fmla="*/ 86 h 165"/>
                  <a:gd name="T8" fmla="*/ 58 w 116"/>
                  <a:gd name="T9" fmla="*/ 165 h 165"/>
                  <a:gd name="T10" fmla="*/ 116 w 116"/>
                  <a:gd name="T11" fmla="*/ 86 h 165"/>
                  <a:gd name="T12" fmla="*/ 76 w 116"/>
                  <a:gd name="T13" fmla="*/ 86 h 165"/>
                  <a:gd name="T14" fmla="*/ 76 w 116"/>
                  <a:gd name="T15" fmla="*/ 0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65">
                    <a:moveTo>
                      <a:pt x="76" y="0"/>
                    </a:moveTo>
                    <a:lnTo>
                      <a:pt x="35" y="0"/>
                    </a:lnTo>
                    <a:lnTo>
                      <a:pt x="35" y="86"/>
                    </a:lnTo>
                    <a:lnTo>
                      <a:pt x="0" y="86"/>
                    </a:lnTo>
                    <a:lnTo>
                      <a:pt x="58" y="165"/>
                    </a:lnTo>
                    <a:lnTo>
                      <a:pt x="116" y="86"/>
                    </a:lnTo>
                    <a:lnTo>
                      <a:pt x="76" y="86"/>
                    </a:lnTo>
                    <a:lnTo>
                      <a:pt x="76" y="0"/>
                    </a:lnTo>
                    <a:close/>
                  </a:path>
                </a:pathLst>
              </a:custGeom>
              <a:solidFill>
                <a:schemeClr val="accent1"/>
              </a:solidFill>
              <a:ln w="9525">
                <a:noFill/>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56" name="Rectangle 15"/>
              <p:cNvSpPr>
                <a:spLocks noChangeArrowheads="1"/>
              </p:cNvSpPr>
              <p:nvPr/>
            </p:nvSpPr>
            <p:spPr bwMode="auto">
              <a:xfrm>
                <a:off x="3960" y="2467"/>
                <a:ext cx="101" cy="29"/>
              </a:xfrm>
              <a:prstGeom prst="rect">
                <a:avLst/>
              </a:pr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57" name="Rectangle 16"/>
              <p:cNvSpPr>
                <a:spLocks noChangeArrowheads="1"/>
              </p:cNvSpPr>
              <p:nvPr/>
            </p:nvSpPr>
            <p:spPr bwMode="auto">
              <a:xfrm>
                <a:off x="3960" y="2511"/>
                <a:ext cx="101" cy="29"/>
              </a:xfrm>
              <a:prstGeom prst="rect">
                <a:avLst/>
              </a:pr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58" name="Rectangle 17"/>
              <p:cNvSpPr>
                <a:spLocks noChangeArrowheads="1"/>
              </p:cNvSpPr>
              <p:nvPr/>
            </p:nvSpPr>
            <p:spPr bwMode="auto">
              <a:xfrm>
                <a:off x="3960" y="2554"/>
                <a:ext cx="101" cy="29"/>
              </a:xfrm>
              <a:prstGeom prst="rect">
                <a:avLst/>
              </a:pr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59" name="Freeform 18"/>
              <p:cNvSpPr>
                <a:spLocks/>
              </p:cNvSpPr>
              <p:nvPr/>
            </p:nvSpPr>
            <p:spPr bwMode="auto">
              <a:xfrm>
                <a:off x="3889" y="2349"/>
                <a:ext cx="145" cy="319"/>
              </a:xfrm>
              <a:custGeom>
                <a:avLst/>
                <a:gdLst>
                  <a:gd name="T0" fmla="*/ 64 w 70"/>
                  <a:gd name="T1" fmla="*/ 0 h 154"/>
                  <a:gd name="T2" fmla="*/ 52 w 70"/>
                  <a:gd name="T3" fmla="*/ 0 h 154"/>
                  <a:gd name="T4" fmla="*/ 18 w 70"/>
                  <a:gd name="T5" fmla="*/ 0 h 154"/>
                  <a:gd name="T6" fmla="*/ 11 w 70"/>
                  <a:gd name="T7" fmla="*/ 0 h 154"/>
                  <a:gd name="T8" fmla="*/ 6 w 70"/>
                  <a:gd name="T9" fmla="*/ 0 h 154"/>
                  <a:gd name="T10" fmla="*/ 0 w 70"/>
                  <a:gd name="T11" fmla="*/ 7 h 154"/>
                  <a:gd name="T12" fmla="*/ 0 w 70"/>
                  <a:gd name="T13" fmla="*/ 98 h 154"/>
                  <a:gd name="T14" fmla="*/ 0 w 70"/>
                  <a:gd name="T15" fmla="*/ 98 h 154"/>
                  <a:gd name="T16" fmla="*/ 0 w 70"/>
                  <a:gd name="T17" fmla="*/ 147 h 154"/>
                  <a:gd name="T18" fmla="*/ 8 w 70"/>
                  <a:gd name="T19" fmla="*/ 154 h 154"/>
                  <a:gd name="T20" fmla="*/ 14 w 70"/>
                  <a:gd name="T21" fmla="*/ 154 h 154"/>
                  <a:gd name="T22" fmla="*/ 41 w 70"/>
                  <a:gd name="T23" fmla="*/ 154 h 154"/>
                  <a:gd name="T24" fmla="*/ 41 w 70"/>
                  <a:gd name="T25" fmla="*/ 133 h 154"/>
                  <a:gd name="T26" fmla="*/ 21 w 70"/>
                  <a:gd name="T27" fmla="*/ 133 h 154"/>
                  <a:gd name="T28" fmla="*/ 21 w 70"/>
                  <a:gd name="T29" fmla="*/ 116 h 154"/>
                  <a:gd name="T30" fmla="*/ 21 w 70"/>
                  <a:gd name="T31" fmla="*/ 96 h 154"/>
                  <a:gd name="T32" fmla="*/ 21 w 70"/>
                  <a:gd name="T33" fmla="*/ 21 h 154"/>
                  <a:gd name="T34" fmla="*/ 49 w 70"/>
                  <a:gd name="T35" fmla="*/ 21 h 154"/>
                  <a:gd name="T36" fmla="*/ 49 w 70"/>
                  <a:gd name="T37" fmla="*/ 49 h 154"/>
                  <a:gd name="T38" fmla="*/ 70 w 70"/>
                  <a:gd name="T39" fmla="*/ 49 h 154"/>
                  <a:gd name="T40" fmla="*/ 70 w 70"/>
                  <a:gd name="T41" fmla="*/ 5 h 154"/>
                  <a:gd name="T42" fmla="*/ 64 w 70"/>
                  <a:gd name="T4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 h="154">
                    <a:moveTo>
                      <a:pt x="64" y="0"/>
                    </a:moveTo>
                    <a:cubicBezTo>
                      <a:pt x="52" y="0"/>
                      <a:pt x="52" y="0"/>
                      <a:pt x="52" y="0"/>
                    </a:cubicBezTo>
                    <a:cubicBezTo>
                      <a:pt x="18" y="0"/>
                      <a:pt x="18" y="0"/>
                      <a:pt x="18" y="0"/>
                    </a:cubicBezTo>
                    <a:cubicBezTo>
                      <a:pt x="11" y="0"/>
                      <a:pt x="11" y="0"/>
                      <a:pt x="11" y="0"/>
                    </a:cubicBezTo>
                    <a:cubicBezTo>
                      <a:pt x="6" y="0"/>
                      <a:pt x="6" y="0"/>
                      <a:pt x="6" y="0"/>
                    </a:cubicBezTo>
                    <a:cubicBezTo>
                      <a:pt x="5" y="0"/>
                      <a:pt x="0" y="0"/>
                      <a:pt x="0" y="7"/>
                    </a:cubicBezTo>
                    <a:cubicBezTo>
                      <a:pt x="0" y="98"/>
                      <a:pt x="0" y="98"/>
                      <a:pt x="0" y="98"/>
                    </a:cubicBezTo>
                    <a:cubicBezTo>
                      <a:pt x="0" y="98"/>
                      <a:pt x="0" y="98"/>
                      <a:pt x="0" y="98"/>
                    </a:cubicBezTo>
                    <a:cubicBezTo>
                      <a:pt x="0" y="147"/>
                      <a:pt x="0" y="147"/>
                      <a:pt x="0" y="147"/>
                    </a:cubicBezTo>
                    <a:cubicBezTo>
                      <a:pt x="0" y="148"/>
                      <a:pt x="6" y="154"/>
                      <a:pt x="8" y="154"/>
                    </a:cubicBezTo>
                    <a:cubicBezTo>
                      <a:pt x="14" y="154"/>
                      <a:pt x="14" y="154"/>
                      <a:pt x="14" y="154"/>
                    </a:cubicBezTo>
                    <a:cubicBezTo>
                      <a:pt x="41" y="154"/>
                      <a:pt x="41" y="154"/>
                      <a:pt x="41" y="154"/>
                    </a:cubicBezTo>
                    <a:cubicBezTo>
                      <a:pt x="41" y="133"/>
                      <a:pt x="41" y="133"/>
                      <a:pt x="41" y="133"/>
                    </a:cubicBezTo>
                    <a:cubicBezTo>
                      <a:pt x="21" y="133"/>
                      <a:pt x="21" y="133"/>
                      <a:pt x="21" y="133"/>
                    </a:cubicBezTo>
                    <a:cubicBezTo>
                      <a:pt x="21" y="116"/>
                      <a:pt x="21" y="116"/>
                      <a:pt x="21" y="116"/>
                    </a:cubicBezTo>
                    <a:cubicBezTo>
                      <a:pt x="21" y="96"/>
                      <a:pt x="21" y="96"/>
                      <a:pt x="21" y="96"/>
                    </a:cubicBezTo>
                    <a:cubicBezTo>
                      <a:pt x="21" y="21"/>
                      <a:pt x="21" y="21"/>
                      <a:pt x="21" y="21"/>
                    </a:cubicBezTo>
                    <a:cubicBezTo>
                      <a:pt x="49" y="21"/>
                      <a:pt x="49" y="21"/>
                      <a:pt x="49" y="21"/>
                    </a:cubicBezTo>
                    <a:cubicBezTo>
                      <a:pt x="49" y="49"/>
                      <a:pt x="49" y="49"/>
                      <a:pt x="49" y="49"/>
                    </a:cubicBezTo>
                    <a:cubicBezTo>
                      <a:pt x="70" y="49"/>
                      <a:pt x="70" y="49"/>
                      <a:pt x="70" y="49"/>
                    </a:cubicBezTo>
                    <a:cubicBezTo>
                      <a:pt x="70" y="5"/>
                      <a:pt x="70" y="5"/>
                      <a:pt x="70" y="5"/>
                    </a:cubicBezTo>
                    <a:cubicBezTo>
                      <a:pt x="69" y="0"/>
                      <a:pt x="66" y="0"/>
                      <a:pt x="64" y="0"/>
                    </a:cubicBezTo>
                    <a:close/>
                  </a:path>
                </a:pathLst>
              </a:custGeom>
              <a:solidFill>
                <a:schemeClr val="accent1"/>
              </a:solidFill>
              <a:ln w="9525">
                <a:noFill/>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60" name="Freeform 19"/>
              <p:cNvSpPr>
                <a:spLocks/>
              </p:cNvSpPr>
              <p:nvPr/>
            </p:nvSpPr>
            <p:spPr bwMode="auto">
              <a:xfrm>
                <a:off x="4051" y="2397"/>
                <a:ext cx="189" cy="277"/>
              </a:xfrm>
              <a:custGeom>
                <a:avLst/>
                <a:gdLst>
                  <a:gd name="T0" fmla="*/ 58 w 91"/>
                  <a:gd name="T1" fmla="*/ 68 h 134"/>
                  <a:gd name="T2" fmla="*/ 52 w 91"/>
                  <a:gd name="T3" fmla="*/ 68 h 134"/>
                  <a:gd name="T4" fmla="*/ 0 w 91"/>
                  <a:gd name="T5" fmla="*/ 0 h 134"/>
                  <a:gd name="T6" fmla="*/ 0 w 91"/>
                  <a:gd name="T7" fmla="*/ 21 h 134"/>
                  <a:gd name="T8" fmla="*/ 30 w 91"/>
                  <a:gd name="T9" fmla="*/ 77 h 134"/>
                  <a:gd name="T10" fmla="*/ 29 w 91"/>
                  <a:gd name="T11" fmla="*/ 91 h 134"/>
                  <a:gd name="T12" fmla="*/ 57 w 91"/>
                  <a:gd name="T13" fmla="*/ 90 h 134"/>
                  <a:gd name="T14" fmla="*/ 70 w 91"/>
                  <a:gd name="T15" fmla="*/ 100 h 134"/>
                  <a:gd name="T16" fmla="*/ 70 w 91"/>
                  <a:gd name="T17" fmla="*/ 113 h 134"/>
                  <a:gd name="T18" fmla="*/ 0 w 91"/>
                  <a:gd name="T19" fmla="*/ 113 h 134"/>
                  <a:gd name="T20" fmla="*/ 0 w 91"/>
                  <a:gd name="T21" fmla="*/ 134 h 134"/>
                  <a:gd name="T22" fmla="*/ 83 w 91"/>
                  <a:gd name="T23" fmla="*/ 134 h 134"/>
                  <a:gd name="T24" fmla="*/ 91 w 91"/>
                  <a:gd name="T25" fmla="*/ 127 h 134"/>
                  <a:gd name="T26" fmla="*/ 91 w 91"/>
                  <a:gd name="T27" fmla="*/ 123 h 134"/>
                  <a:gd name="T28" fmla="*/ 91 w 91"/>
                  <a:gd name="T29" fmla="*/ 112 h 134"/>
                  <a:gd name="T30" fmla="*/ 91 w 91"/>
                  <a:gd name="T31" fmla="*/ 98 h 134"/>
                  <a:gd name="T32" fmla="*/ 58 w 91"/>
                  <a:gd name="T33" fmla="*/ 6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34">
                    <a:moveTo>
                      <a:pt x="58" y="68"/>
                    </a:moveTo>
                    <a:cubicBezTo>
                      <a:pt x="52" y="68"/>
                      <a:pt x="52" y="68"/>
                      <a:pt x="52" y="68"/>
                    </a:cubicBezTo>
                    <a:cubicBezTo>
                      <a:pt x="48" y="26"/>
                      <a:pt x="28" y="6"/>
                      <a:pt x="0" y="0"/>
                    </a:cubicBezTo>
                    <a:cubicBezTo>
                      <a:pt x="0" y="21"/>
                      <a:pt x="0" y="21"/>
                      <a:pt x="0" y="21"/>
                    </a:cubicBezTo>
                    <a:cubicBezTo>
                      <a:pt x="21" y="28"/>
                      <a:pt x="29" y="49"/>
                      <a:pt x="30" y="77"/>
                    </a:cubicBezTo>
                    <a:cubicBezTo>
                      <a:pt x="29" y="91"/>
                      <a:pt x="29" y="91"/>
                      <a:pt x="29" y="91"/>
                    </a:cubicBezTo>
                    <a:cubicBezTo>
                      <a:pt x="57" y="90"/>
                      <a:pt x="57" y="90"/>
                      <a:pt x="57" y="90"/>
                    </a:cubicBezTo>
                    <a:cubicBezTo>
                      <a:pt x="64" y="90"/>
                      <a:pt x="70" y="92"/>
                      <a:pt x="70" y="100"/>
                    </a:cubicBezTo>
                    <a:cubicBezTo>
                      <a:pt x="70" y="113"/>
                      <a:pt x="70" y="113"/>
                      <a:pt x="70" y="113"/>
                    </a:cubicBezTo>
                    <a:cubicBezTo>
                      <a:pt x="0" y="113"/>
                      <a:pt x="0" y="113"/>
                      <a:pt x="0" y="113"/>
                    </a:cubicBezTo>
                    <a:cubicBezTo>
                      <a:pt x="0" y="134"/>
                      <a:pt x="0" y="134"/>
                      <a:pt x="0" y="134"/>
                    </a:cubicBezTo>
                    <a:cubicBezTo>
                      <a:pt x="83" y="134"/>
                      <a:pt x="83" y="134"/>
                      <a:pt x="83" y="134"/>
                    </a:cubicBezTo>
                    <a:cubicBezTo>
                      <a:pt x="84" y="134"/>
                      <a:pt x="91" y="128"/>
                      <a:pt x="91" y="127"/>
                    </a:cubicBezTo>
                    <a:cubicBezTo>
                      <a:pt x="91" y="123"/>
                      <a:pt x="91" y="123"/>
                      <a:pt x="91" y="123"/>
                    </a:cubicBezTo>
                    <a:cubicBezTo>
                      <a:pt x="91" y="112"/>
                      <a:pt x="91" y="112"/>
                      <a:pt x="91" y="112"/>
                    </a:cubicBezTo>
                    <a:cubicBezTo>
                      <a:pt x="91" y="98"/>
                      <a:pt x="91" y="98"/>
                      <a:pt x="91" y="98"/>
                    </a:cubicBezTo>
                    <a:cubicBezTo>
                      <a:pt x="91" y="81"/>
                      <a:pt x="76" y="68"/>
                      <a:pt x="58" y="68"/>
                    </a:cubicBezTo>
                    <a:close/>
                  </a:path>
                </a:pathLst>
              </a:custGeom>
              <a:solidFill>
                <a:schemeClr val="accent1"/>
              </a:solidFill>
              <a:ln w="9525">
                <a:noFill/>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grpSp>
      </p:grpSp>
      <p:grpSp>
        <p:nvGrpSpPr>
          <p:cNvPr id="361" name="Group 360"/>
          <p:cNvGrpSpPr/>
          <p:nvPr/>
        </p:nvGrpSpPr>
        <p:grpSpPr>
          <a:xfrm>
            <a:off x="8265167" y="2396471"/>
            <a:ext cx="712686" cy="712686"/>
            <a:chOff x="6232278" y="2368157"/>
            <a:chExt cx="726977" cy="726977"/>
          </a:xfrm>
        </p:grpSpPr>
        <p:sp>
          <p:nvSpPr>
            <p:cNvPr id="362" name="Oval 361"/>
            <p:cNvSpPr/>
            <p:nvPr/>
          </p:nvSpPr>
          <p:spPr bwMode="auto">
            <a:xfrm>
              <a:off x="6232278" y="2368157"/>
              <a:ext cx="726977" cy="726977"/>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363" name="Group 22"/>
            <p:cNvGrpSpPr>
              <a:grpSpLocks noChangeAspect="1"/>
            </p:cNvGrpSpPr>
            <p:nvPr/>
          </p:nvGrpSpPr>
          <p:grpSpPr bwMode="auto">
            <a:xfrm>
              <a:off x="6374543" y="2545385"/>
              <a:ext cx="442446" cy="375442"/>
              <a:chOff x="3796" y="1814"/>
              <a:chExt cx="416" cy="353"/>
            </a:xfrm>
          </p:grpSpPr>
          <p:sp>
            <p:nvSpPr>
              <p:cNvPr id="364" name="AutoShape 21"/>
              <p:cNvSpPr>
                <a:spLocks noChangeAspect="1" noChangeArrowheads="1" noTextEdit="1"/>
              </p:cNvSpPr>
              <p:nvPr/>
            </p:nvSpPr>
            <p:spPr bwMode="auto">
              <a:xfrm>
                <a:off x="3796" y="1816"/>
                <a:ext cx="416"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65" name="Freeform 23"/>
              <p:cNvSpPr>
                <a:spLocks/>
              </p:cNvSpPr>
              <p:nvPr/>
            </p:nvSpPr>
            <p:spPr bwMode="auto">
              <a:xfrm>
                <a:off x="3796" y="1814"/>
                <a:ext cx="414" cy="353"/>
              </a:xfrm>
              <a:custGeom>
                <a:avLst/>
                <a:gdLst>
                  <a:gd name="T0" fmla="*/ 173 w 200"/>
                  <a:gd name="T1" fmla="*/ 59 h 170"/>
                  <a:gd name="T2" fmla="*/ 175 w 200"/>
                  <a:gd name="T3" fmla="*/ 48 h 170"/>
                  <a:gd name="T4" fmla="*/ 126 w 200"/>
                  <a:gd name="T5" fmla="*/ 0 h 170"/>
                  <a:gd name="T6" fmla="*/ 83 w 200"/>
                  <a:gd name="T7" fmla="*/ 27 h 170"/>
                  <a:gd name="T8" fmla="*/ 59 w 200"/>
                  <a:gd name="T9" fmla="*/ 17 h 170"/>
                  <a:gd name="T10" fmla="*/ 24 w 200"/>
                  <a:gd name="T11" fmla="*/ 51 h 170"/>
                  <a:gd name="T12" fmla="*/ 25 w 200"/>
                  <a:gd name="T13" fmla="*/ 59 h 170"/>
                  <a:gd name="T14" fmla="*/ 0 w 200"/>
                  <a:gd name="T15" fmla="*/ 95 h 170"/>
                  <a:gd name="T16" fmla="*/ 40 w 200"/>
                  <a:gd name="T17" fmla="*/ 134 h 170"/>
                  <a:gd name="T18" fmla="*/ 43 w 200"/>
                  <a:gd name="T19" fmla="*/ 134 h 170"/>
                  <a:gd name="T20" fmla="*/ 80 w 200"/>
                  <a:gd name="T21" fmla="*/ 170 h 170"/>
                  <a:gd name="T22" fmla="*/ 112 w 200"/>
                  <a:gd name="T23" fmla="*/ 151 h 170"/>
                  <a:gd name="T24" fmla="*/ 129 w 200"/>
                  <a:gd name="T25" fmla="*/ 158 h 170"/>
                  <a:gd name="T26" fmla="*/ 156 w 200"/>
                  <a:gd name="T27" fmla="*/ 134 h 170"/>
                  <a:gd name="T28" fmla="*/ 160 w 200"/>
                  <a:gd name="T29" fmla="*/ 134 h 170"/>
                  <a:gd name="T30" fmla="*/ 200 w 200"/>
                  <a:gd name="T31" fmla="*/ 95 h 170"/>
                  <a:gd name="T32" fmla="*/ 173 w 200"/>
                  <a:gd name="T33" fmla="*/ 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170">
                    <a:moveTo>
                      <a:pt x="173" y="59"/>
                    </a:moveTo>
                    <a:cubicBezTo>
                      <a:pt x="174" y="55"/>
                      <a:pt x="175" y="52"/>
                      <a:pt x="175" y="48"/>
                    </a:cubicBezTo>
                    <a:cubicBezTo>
                      <a:pt x="175" y="22"/>
                      <a:pt x="153" y="0"/>
                      <a:pt x="126" y="0"/>
                    </a:cubicBezTo>
                    <a:cubicBezTo>
                      <a:pt x="108" y="0"/>
                      <a:pt x="91" y="10"/>
                      <a:pt x="83" y="27"/>
                    </a:cubicBezTo>
                    <a:cubicBezTo>
                      <a:pt x="77" y="21"/>
                      <a:pt x="68" y="17"/>
                      <a:pt x="59" y="17"/>
                    </a:cubicBezTo>
                    <a:cubicBezTo>
                      <a:pt x="40" y="17"/>
                      <a:pt x="24" y="32"/>
                      <a:pt x="24" y="51"/>
                    </a:cubicBezTo>
                    <a:cubicBezTo>
                      <a:pt x="24" y="54"/>
                      <a:pt x="24" y="57"/>
                      <a:pt x="25" y="59"/>
                    </a:cubicBezTo>
                    <a:cubicBezTo>
                      <a:pt x="9" y="66"/>
                      <a:pt x="0" y="79"/>
                      <a:pt x="0" y="95"/>
                    </a:cubicBezTo>
                    <a:cubicBezTo>
                      <a:pt x="0" y="117"/>
                      <a:pt x="18" y="134"/>
                      <a:pt x="40" y="134"/>
                    </a:cubicBezTo>
                    <a:cubicBezTo>
                      <a:pt x="43" y="134"/>
                      <a:pt x="43" y="134"/>
                      <a:pt x="43" y="134"/>
                    </a:cubicBezTo>
                    <a:cubicBezTo>
                      <a:pt x="43" y="154"/>
                      <a:pt x="60" y="170"/>
                      <a:pt x="80" y="170"/>
                    </a:cubicBezTo>
                    <a:cubicBezTo>
                      <a:pt x="93" y="170"/>
                      <a:pt x="105" y="162"/>
                      <a:pt x="112" y="151"/>
                    </a:cubicBezTo>
                    <a:cubicBezTo>
                      <a:pt x="117" y="155"/>
                      <a:pt x="123" y="158"/>
                      <a:pt x="129" y="158"/>
                    </a:cubicBezTo>
                    <a:cubicBezTo>
                      <a:pt x="143" y="158"/>
                      <a:pt x="154" y="147"/>
                      <a:pt x="156" y="134"/>
                    </a:cubicBezTo>
                    <a:cubicBezTo>
                      <a:pt x="160" y="134"/>
                      <a:pt x="160" y="134"/>
                      <a:pt x="160" y="134"/>
                    </a:cubicBezTo>
                    <a:cubicBezTo>
                      <a:pt x="182" y="134"/>
                      <a:pt x="200" y="117"/>
                      <a:pt x="200" y="95"/>
                    </a:cubicBezTo>
                    <a:cubicBezTo>
                      <a:pt x="200" y="78"/>
                      <a:pt x="190" y="64"/>
                      <a:pt x="173" y="59"/>
                    </a:cubicBezTo>
                  </a:path>
                </a:pathLst>
              </a:cu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66" name="Freeform 24"/>
              <p:cNvSpPr>
                <a:spLocks noEditPoints="1"/>
              </p:cNvSpPr>
              <p:nvPr/>
            </p:nvSpPr>
            <p:spPr bwMode="auto">
              <a:xfrm>
                <a:off x="3995" y="1872"/>
                <a:ext cx="134" cy="135"/>
              </a:xfrm>
              <a:custGeom>
                <a:avLst/>
                <a:gdLst>
                  <a:gd name="T0" fmla="*/ 62 w 65"/>
                  <a:gd name="T1" fmla="*/ 49 h 65"/>
                  <a:gd name="T2" fmla="*/ 65 w 65"/>
                  <a:gd name="T3" fmla="*/ 42 h 65"/>
                  <a:gd name="T4" fmla="*/ 64 w 65"/>
                  <a:gd name="T5" fmla="*/ 41 h 65"/>
                  <a:gd name="T6" fmla="*/ 57 w 65"/>
                  <a:gd name="T7" fmla="*/ 35 h 65"/>
                  <a:gd name="T8" fmla="*/ 57 w 65"/>
                  <a:gd name="T9" fmla="*/ 30 h 65"/>
                  <a:gd name="T10" fmla="*/ 65 w 65"/>
                  <a:gd name="T11" fmla="*/ 23 h 65"/>
                  <a:gd name="T12" fmla="*/ 62 w 65"/>
                  <a:gd name="T13" fmla="*/ 16 h 65"/>
                  <a:gd name="T14" fmla="*/ 61 w 65"/>
                  <a:gd name="T15" fmla="*/ 16 h 65"/>
                  <a:gd name="T16" fmla="*/ 52 w 65"/>
                  <a:gd name="T17" fmla="*/ 17 h 65"/>
                  <a:gd name="T18" fmla="*/ 48 w 65"/>
                  <a:gd name="T19" fmla="*/ 13 h 65"/>
                  <a:gd name="T20" fmla="*/ 49 w 65"/>
                  <a:gd name="T21" fmla="*/ 3 h 65"/>
                  <a:gd name="T22" fmla="*/ 42 w 65"/>
                  <a:gd name="T23" fmla="*/ 0 h 65"/>
                  <a:gd name="T24" fmla="*/ 41 w 65"/>
                  <a:gd name="T25" fmla="*/ 1 h 65"/>
                  <a:gd name="T26" fmla="*/ 36 w 65"/>
                  <a:gd name="T27" fmla="*/ 8 h 65"/>
                  <a:gd name="T28" fmla="*/ 30 w 65"/>
                  <a:gd name="T29" fmla="*/ 8 h 65"/>
                  <a:gd name="T30" fmla="*/ 23 w 65"/>
                  <a:gd name="T31" fmla="*/ 0 h 65"/>
                  <a:gd name="T32" fmla="*/ 16 w 65"/>
                  <a:gd name="T33" fmla="*/ 3 h 65"/>
                  <a:gd name="T34" fmla="*/ 16 w 65"/>
                  <a:gd name="T35" fmla="*/ 4 h 65"/>
                  <a:gd name="T36" fmla="*/ 17 w 65"/>
                  <a:gd name="T37" fmla="*/ 13 h 65"/>
                  <a:gd name="T38" fmla="*/ 13 w 65"/>
                  <a:gd name="T39" fmla="*/ 17 h 65"/>
                  <a:gd name="T40" fmla="*/ 3 w 65"/>
                  <a:gd name="T41" fmla="*/ 16 h 65"/>
                  <a:gd name="T42" fmla="*/ 0 w 65"/>
                  <a:gd name="T43" fmla="*/ 23 h 65"/>
                  <a:gd name="T44" fmla="*/ 1 w 65"/>
                  <a:gd name="T45" fmla="*/ 24 h 65"/>
                  <a:gd name="T46" fmla="*/ 8 w 65"/>
                  <a:gd name="T47" fmla="*/ 30 h 65"/>
                  <a:gd name="T48" fmla="*/ 8 w 65"/>
                  <a:gd name="T49" fmla="*/ 35 h 65"/>
                  <a:gd name="T50" fmla="*/ 0 w 65"/>
                  <a:gd name="T51" fmla="*/ 42 h 65"/>
                  <a:gd name="T52" fmla="*/ 3 w 65"/>
                  <a:gd name="T53" fmla="*/ 49 h 65"/>
                  <a:gd name="T54" fmla="*/ 4 w 65"/>
                  <a:gd name="T55" fmla="*/ 49 h 65"/>
                  <a:gd name="T56" fmla="*/ 13 w 65"/>
                  <a:gd name="T57" fmla="*/ 48 h 65"/>
                  <a:gd name="T58" fmla="*/ 17 w 65"/>
                  <a:gd name="T59" fmla="*/ 52 h 65"/>
                  <a:gd name="T60" fmla="*/ 16 w 65"/>
                  <a:gd name="T61" fmla="*/ 62 h 65"/>
                  <a:gd name="T62" fmla="*/ 23 w 65"/>
                  <a:gd name="T63" fmla="*/ 65 h 65"/>
                  <a:gd name="T64" fmla="*/ 24 w 65"/>
                  <a:gd name="T65" fmla="*/ 64 h 65"/>
                  <a:gd name="T66" fmla="*/ 30 w 65"/>
                  <a:gd name="T67" fmla="*/ 57 h 65"/>
                  <a:gd name="T68" fmla="*/ 35 w 65"/>
                  <a:gd name="T69" fmla="*/ 57 h 65"/>
                  <a:gd name="T70" fmla="*/ 42 w 65"/>
                  <a:gd name="T71" fmla="*/ 65 h 65"/>
                  <a:gd name="T72" fmla="*/ 49 w 65"/>
                  <a:gd name="T73" fmla="*/ 62 h 65"/>
                  <a:gd name="T74" fmla="*/ 49 w 65"/>
                  <a:gd name="T75" fmla="*/ 61 h 65"/>
                  <a:gd name="T76" fmla="*/ 48 w 65"/>
                  <a:gd name="T77" fmla="*/ 52 h 65"/>
                  <a:gd name="T78" fmla="*/ 52 w 65"/>
                  <a:gd name="T79" fmla="*/ 48 h 65"/>
                  <a:gd name="T80" fmla="*/ 62 w 65"/>
                  <a:gd name="T81" fmla="*/ 49 h 65"/>
                  <a:gd name="T82" fmla="*/ 27 w 65"/>
                  <a:gd name="T83" fmla="*/ 47 h 65"/>
                  <a:gd name="T84" fmla="*/ 18 w 65"/>
                  <a:gd name="T85" fmla="*/ 26 h 65"/>
                  <a:gd name="T86" fmla="*/ 39 w 65"/>
                  <a:gd name="T87" fmla="*/ 18 h 65"/>
                  <a:gd name="T88" fmla="*/ 47 w 65"/>
                  <a:gd name="T89" fmla="*/ 39 h 65"/>
                  <a:gd name="T90" fmla="*/ 27 w 65"/>
                  <a:gd name="T91" fmla="*/ 4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 h="65">
                    <a:moveTo>
                      <a:pt x="62" y="49"/>
                    </a:moveTo>
                    <a:cubicBezTo>
                      <a:pt x="65" y="42"/>
                      <a:pt x="65" y="42"/>
                      <a:pt x="65" y="42"/>
                    </a:cubicBezTo>
                    <a:cubicBezTo>
                      <a:pt x="64" y="41"/>
                      <a:pt x="64" y="41"/>
                      <a:pt x="64" y="41"/>
                    </a:cubicBezTo>
                    <a:cubicBezTo>
                      <a:pt x="57" y="35"/>
                      <a:pt x="57" y="35"/>
                      <a:pt x="57" y="35"/>
                    </a:cubicBezTo>
                    <a:cubicBezTo>
                      <a:pt x="57" y="30"/>
                      <a:pt x="57" y="30"/>
                      <a:pt x="57" y="30"/>
                    </a:cubicBezTo>
                    <a:cubicBezTo>
                      <a:pt x="65" y="23"/>
                      <a:pt x="65" y="23"/>
                      <a:pt x="65" y="23"/>
                    </a:cubicBezTo>
                    <a:cubicBezTo>
                      <a:pt x="62" y="16"/>
                      <a:pt x="62" y="16"/>
                      <a:pt x="62" y="16"/>
                    </a:cubicBezTo>
                    <a:cubicBezTo>
                      <a:pt x="61" y="16"/>
                      <a:pt x="61" y="16"/>
                      <a:pt x="61" y="16"/>
                    </a:cubicBezTo>
                    <a:cubicBezTo>
                      <a:pt x="52" y="17"/>
                      <a:pt x="52" y="17"/>
                      <a:pt x="52" y="17"/>
                    </a:cubicBezTo>
                    <a:cubicBezTo>
                      <a:pt x="48" y="13"/>
                      <a:pt x="48" y="13"/>
                      <a:pt x="48" y="13"/>
                    </a:cubicBezTo>
                    <a:cubicBezTo>
                      <a:pt x="49" y="3"/>
                      <a:pt x="49" y="3"/>
                      <a:pt x="49" y="3"/>
                    </a:cubicBezTo>
                    <a:cubicBezTo>
                      <a:pt x="42" y="0"/>
                      <a:pt x="42" y="0"/>
                      <a:pt x="42" y="0"/>
                    </a:cubicBezTo>
                    <a:cubicBezTo>
                      <a:pt x="41" y="1"/>
                      <a:pt x="41" y="1"/>
                      <a:pt x="41" y="1"/>
                    </a:cubicBezTo>
                    <a:cubicBezTo>
                      <a:pt x="36" y="8"/>
                      <a:pt x="36" y="8"/>
                      <a:pt x="36" y="8"/>
                    </a:cubicBezTo>
                    <a:cubicBezTo>
                      <a:pt x="30" y="8"/>
                      <a:pt x="30" y="8"/>
                      <a:pt x="30" y="8"/>
                    </a:cubicBezTo>
                    <a:cubicBezTo>
                      <a:pt x="23" y="0"/>
                      <a:pt x="23" y="0"/>
                      <a:pt x="23" y="0"/>
                    </a:cubicBezTo>
                    <a:cubicBezTo>
                      <a:pt x="16" y="3"/>
                      <a:pt x="16" y="3"/>
                      <a:pt x="16" y="3"/>
                    </a:cubicBezTo>
                    <a:cubicBezTo>
                      <a:pt x="16" y="4"/>
                      <a:pt x="16" y="4"/>
                      <a:pt x="16" y="4"/>
                    </a:cubicBezTo>
                    <a:cubicBezTo>
                      <a:pt x="17" y="13"/>
                      <a:pt x="17" y="13"/>
                      <a:pt x="17" y="13"/>
                    </a:cubicBezTo>
                    <a:cubicBezTo>
                      <a:pt x="13" y="17"/>
                      <a:pt x="13" y="17"/>
                      <a:pt x="13" y="17"/>
                    </a:cubicBezTo>
                    <a:cubicBezTo>
                      <a:pt x="3" y="16"/>
                      <a:pt x="3" y="16"/>
                      <a:pt x="3" y="16"/>
                    </a:cubicBezTo>
                    <a:cubicBezTo>
                      <a:pt x="0" y="23"/>
                      <a:pt x="0" y="23"/>
                      <a:pt x="0" y="23"/>
                    </a:cubicBezTo>
                    <a:cubicBezTo>
                      <a:pt x="1" y="24"/>
                      <a:pt x="1" y="24"/>
                      <a:pt x="1" y="24"/>
                    </a:cubicBezTo>
                    <a:cubicBezTo>
                      <a:pt x="8" y="30"/>
                      <a:pt x="8" y="30"/>
                      <a:pt x="8" y="30"/>
                    </a:cubicBezTo>
                    <a:cubicBezTo>
                      <a:pt x="8" y="35"/>
                      <a:pt x="8" y="35"/>
                      <a:pt x="8" y="35"/>
                    </a:cubicBezTo>
                    <a:cubicBezTo>
                      <a:pt x="0" y="42"/>
                      <a:pt x="0" y="42"/>
                      <a:pt x="0" y="42"/>
                    </a:cubicBezTo>
                    <a:cubicBezTo>
                      <a:pt x="3" y="49"/>
                      <a:pt x="3" y="49"/>
                      <a:pt x="3" y="49"/>
                    </a:cubicBezTo>
                    <a:cubicBezTo>
                      <a:pt x="4" y="49"/>
                      <a:pt x="4" y="49"/>
                      <a:pt x="4" y="49"/>
                    </a:cubicBezTo>
                    <a:cubicBezTo>
                      <a:pt x="13" y="48"/>
                      <a:pt x="13" y="48"/>
                      <a:pt x="13" y="48"/>
                    </a:cubicBezTo>
                    <a:cubicBezTo>
                      <a:pt x="17" y="52"/>
                      <a:pt x="17" y="52"/>
                      <a:pt x="17" y="52"/>
                    </a:cubicBezTo>
                    <a:cubicBezTo>
                      <a:pt x="16" y="62"/>
                      <a:pt x="16" y="62"/>
                      <a:pt x="16" y="62"/>
                    </a:cubicBezTo>
                    <a:cubicBezTo>
                      <a:pt x="23" y="65"/>
                      <a:pt x="23" y="65"/>
                      <a:pt x="23" y="65"/>
                    </a:cubicBezTo>
                    <a:cubicBezTo>
                      <a:pt x="24" y="64"/>
                      <a:pt x="24" y="64"/>
                      <a:pt x="24" y="64"/>
                    </a:cubicBezTo>
                    <a:cubicBezTo>
                      <a:pt x="30" y="57"/>
                      <a:pt x="30" y="57"/>
                      <a:pt x="30" y="57"/>
                    </a:cubicBezTo>
                    <a:cubicBezTo>
                      <a:pt x="35" y="57"/>
                      <a:pt x="35" y="57"/>
                      <a:pt x="35" y="57"/>
                    </a:cubicBezTo>
                    <a:cubicBezTo>
                      <a:pt x="42" y="65"/>
                      <a:pt x="42" y="65"/>
                      <a:pt x="42" y="65"/>
                    </a:cubicBezTo>
                    <a:cubicBezTo>
                      <a:pt x="49" y="62"/>
                      <a:pt x="49" y="62"/>
                      <a:pt x="49" y="62"/>
                    </a:cubicBezTo>
                    <a:cubicBezTo>
                      <a:pt x="49" y="61"/>
                      <a:pt x="49" y="61"/>
                      <a:pt x="49" y="61"/>
                    </a:cubicBezTo>
                    <a:cubicBezTo>
                      <a:pt x="48" y="52"/>
                      <a:pt x="48" y="52"/>
                      <a:pt x="48" y="52"/>
                    </a:cubicBezTo>
                    <a:cubicBezTo>
                      <a:pt x="52" y="48"/>
                      <a:pt x="52" y="48"/>
                      <a:pt x="52" y="48"/>
                    </a:cubicBezTo>
                    <a:lnTo>
                      <a:pt x="62" y="49"/>
                    </a:lnTo>
                    <a:close/>
                    <a:moveTo>
                      <a:pt x="27" y="47"/>
                    </a:moveTo>
                    <a:cubicBezTo>
                      <a:pt x="19" y="43"/>
                      <a:pt x="15" y="34"/>
                      <a:pt x="18" y="26"/>
                    </a:cubicBezTo>
                    <a:cubicBezTo>
                      <a:pt x="22" y="19"/>
                      <a:pt x="31" y="15"/>
                      <a:pt x="39" y="18"/>
                    </a:cubicBezTo>
                    <a:cubicBezTo>
                      <a:pt x="46" y="22"/>
                      <a:pt x="50" y="31"/>
                      <a:pt x="47" y="39"/>
                    </a:cubicBezTo>
                    <a:cubicBezTo>
                      <a:pt x="43" y="46"/>
                      <a:pt x="34" y="50"/>
                      <a:pt x="27" y="4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67" name="Freeform 25"/>
              <p:cNvSpPr>
                <a:spLocks noEditPoints="1"/>
              </p:cNvSpPr>
              <p:nvPr/>
            </p:nvSpPr>
            <p:spPr bwMode="auto">
              <a:xfrm>
                <a:off x="3893" y="1970"/>
                <a:ext cx="137" cy="137"/>
              </a:xfrm>
              <a:custGeom>
                <a:avLst/>
                <a:gdLst>
                  <a:gd name="T0" fmla="*/ 66 w 66"/>
                  <a:gd name="T1" fmla="*/ 37 h 66"/>
                  <a:gd name="T2" fmla="*/ 66 w 66"/>
                  <a:gd name="T3" fmla="*/ 29 h 66"/>
                  <a:gd name="T4" fmla="*/ 65 w 66"/>
                  <a:gd name="T5" fmla="*/ 29 h 66"/>
                  <a:gd name="T6" fmla="*/ 57 w 66"/>
                  <a:gd name="T7" fmla="*/ 26 h 66"/>
                  <a:gd name="T8" fmla="*/ 55 w 66"/>
                  <a:gd name="T9" fmla="*/ 21 h 66"/>
                  <a:gd name="T10" fmla="*/ 59 w 66"/>
                  <a:gd name="T11" fmla="*/ 12 h 66"/>
                  <a:gd name="T12" fmla="*/ 54 w 66"/>
                  <a:gd name="T13" fmla="*/ 7 h 66"/>
                  <a:gd name="T14" fmla="*/ 53 w 66"/>
                  <a:gd name="T15" fmla="*/ 7 h 66"/>
                  <a:gd name="T16" fmla="*/ 45 w 66"/>
                  <a:gd name="T17" fmla="*/ 11 h 66"/>
                  <a:gd name="T18" fmla="*/ 40 w 66"/>
                  <a:gd name="T19" fmla="*/ 9 h 66"/>
                  <a:gd name="T20" fmla="*/ 37 w 66"/>
                  <a:gd name="T21" fmla="*/ 0 h 66"/>
                  <a:gd name="T22" fmla="*/ 29 w 66"/>
                  <a:gd name="T23" fmla="*/ 0 h 66"/>
                  <a:gd name="T24" fmla="*/ 29 w 66"/>
                  <a:gd name="T25" fmla="*/ 1 h 66"/>
                  <a:gd name="T26" fmla="*/ 26 w 66"/>
                  <a:gd name="T27" fmla="*/ 9 h 66"/>
                  <a:gd name="T28" fmla="*/ 21 w 66"/>
                  <a:gd name="T29" fmla="*/ 11 h 66"/>
                  <a:gd name="T30" fmla="*/ 12 w 66"/>
                  <a:gd name="T31" fmla="*/ 7 h 66"/>
                  <a:gd name="T32" fmla="*/ 7 w 66"/>
                  <a:gd name="T33" fmla="*/ 12 h 66"/>
                  <a:gd name="T34" fmla="*/ 7 w 66"/>
                  <a:gd name="T35" fmla="*/ 13 h 66"/>
                  <a:gd name="T36" fmla="*/ 11 w 66"/>
                  <a:gd name="T37" fmla="*/ 21 h 66"/>
                  <a:gd name="T38" fmla="*/ 9 w 66"/>
                  <a:gd name="T39" fmla="*/ 26 h 66"/>
                  <a:gd name="T40" fmla="*/ 0 w 66"/>
                  <a:gd name="T41" fmla="*/ 29 h 66"/>
                  <a:gd name="T42" fmla="*/ 0 w 66"/>
                  <a:gd name="T43" fmla="*/ 37 h 66"/>
                  <a:gd name="T44" fmla="*/ 1 w 66"/>
                  <a:gd name="T45" fmla="*/ 37 h 66"/>
                  <a:gd name="T46" fmla="*/ 9 w 66"/>
                  <a:gd name="T47" fmla="*/ 40 h 66"/>
                  <a:gd name="T48" fmla="*/ 11 w 66"/>
                  <a:gd name="T49" fmla="*/ 45 h 66"/>
                  <a:gd name="T50" fmla="*/ 7 w 66"/>
                  <a:gd name="T51" fmla="*/ 54 h 66"/>
                  <a:gd name="T52" fmla="*/ 12 w 66"/>
                  <a:gd name="T53" fmla="*/ 59 h 66"/>
                  <a:gd name="T54" fmla="*/ 13 w 66"/>
                  <a:gd name="T55" fmla="*/ 59 h 66"/>
                  <a:gd name="T56" fmla="*/ 21 w 66"/>
                  <a:gd name="T57" fmla="*/ 55 h 66"/>
                  <a:gd name="T58" fmla="*/ 26 w 66"/>
                  <a:gd name="T59" fmla="*/ 57 h 66"/>
                  <a:gd name="T60" fmla="*/ 30 w 66"/>
                  <a:gd name="T61" fmla="*/ 66 h 66"/>
                  <a:gd name="T62" fmla="*/ 37 w 66"/>
                  <a:gd name="T63" fmla="*/ 66 h 66"/>
                  <a:gd name="T64" fmla="*/ 37 w 66"/>
                  <a:gd name="T65" fmla="*/ 65 h 66"/>
                  <a:gd name="T66" fmla="*/ 40 w 66"/>
                  <a:gd name="T67" fmla="*/ 57 h 66"/>
                  <a:gd name="T68" fmla="*/ 45 w 66"/>
                  <a:gd name="T69" fmla="*/ 55 h 66"/>
                  <a:gd name="T70" fmla="*/ 54 w 66"/>
                  <a:gd name="T71" fmla="*/ 59 h 66"/>
                  <a:gd name="T72" fmla="*/ 59 w 66"/>
                  <a:gd name="T73" fmla="*/ 54 h 66"/>
                  <a:gd name="T74" fmla="*/ 59 w 66"/>
                  <a:gd name="T75" fmla="*/ 53 h 66"/>
                  <a:gd name="T76" fmla="*/ 55 w 66"/>
                  <a:gd name="T77" fmla="*/ 45 h 66"/>
                  <a:gd name="T78" fmla="*/ 57 w 66"/>
                  <a:gd name="T79" fmla="*/ 40 h 66"/>
                  <a:gd name="T80" fmla="*/ 66 w 66"/>
                  <a:gd name="T81" fmla="*/ 37 h 66"/>
                  <a:gd name="T82" fmla="*/ 33 w 66"/>
                  <a:gd name="T83" fmla="*/ 49 h 66"/>
                  <a:gd name="T84" fmla="*/ 18 w 66"/>
                  <a:gd name="T85" fmla="*/ 33 h 66"/>
                  <a:gd name="T86" fmla="*/ 33 w 66"/>
                  <a:gd name="T87" fmla="*/ 18 h 66"/>
                  <a:gd name="T88" fmla="*/ 49 w 66"/>
                  <a:gd name="T89" fmla="*/ 33 h 66"/>
                  <a:gd name="T90" fmla="*/ 33 w 66"/>
                  <a:gd name="T91"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66">
                    <a:moveTo>
                      <a:pt x="66" y="37"/>
                    </a:moveTo>
                    <a:cubicBezTo>
                      <a:pt x="66" y="29"/>
                      <a:pt x="66" y="29"/>
                      <a:pt x="66" y="29"/>
                    </a:cubicBezTo>
                    <a:cubicBezTo>
                      <a:pt x="65" y="29"/>
                      <a:pt x="65" y="29"/>
                      <a:pt x="65" y="29"/>
                    </a:cubicBezTo>
                    <a:cubicBezTo>
                      <a:pt x="57" y="26"/>
                      <a:pt x="57" y="26"/>
                      <a:pt x="57" y="26"/>
                    </a:cubicBezTo>
                    <a:cubicBezTo>
                      <a:pt x="55" y="21"/>
                      <a:pt x="55" y="21"/>
                      <a:pt x="55" y="21"/>
                    </a:cubicBezTo>
                    <a:cubicBezTo>
                      <a:pt x="59" y="12"/>
                      <a:pt x="59" y="12"/>
                      <a:pt x="59" y="12"/>
                    </a:cubicBezTo>
                    <a:cubicBezTo>
                      <a:pt x="54" y="7"/>
                      <a:pt x="54" y="7"/>
                      <a:pt x="54" y="7"/>
                    </a:cubicBezTo>
                    <a:cubicBezTo>
                      <a:pt x="53" y="7"/>
                      <a:pt x="53" y="7"/>
                      <a:pt x="53" y="7"/>
                    </a:cubicBezTo>
                    <a:cubicBezTo>
                      <a:pt x="45" y="11"/>
                      <a:pt x="45" y="11"/>
                      <a:pt x="45" y="11"/>
                    </a:cubicBezTo>
                    <a:cubicBezTo>
                      <a:pt x="40" y="9"/>
                      <a:pt x="40" y="9"/>
                      <a:pt x="40" y="9"/>
                    </a:cubicBezTo>
                    <a:cubicBezTo>
                      <a:pt x="37" y="0"/>
                      <a:pt x="37" y="0"/>
                      <a:pt x="37" y="0"/>
                    </a:cubicBezTo>
                    <a:cubicBezTo>
                      <a:pt x="29" y="0"/>
                      <a:pt x="29" y="0"/>
                      <a:pt x="29" y="0"/>
                    </a:cubicBezTo>
                    <a:cubicBezTo>
                      <a:pt x="29" y="1"/>
                      <a:pt x="29" y="1"/>
                      <a:pt x="29" y="1"/>
                    </a:cubicBezTo>
                    <a:cubicBezTo>
                      <a:pt x="26" y="9"/>
                      <a:pt x="26" y="9"/>
                      <a:pt x="26" y="9"/>
                    </a:cubicBezTo>
                    <a:cubicBezTo>
                      <a:pt x="21" y="11"/>
                      <a:pt x="21" y="11"/>
                      <a:pt x="21" y="11"/>
                    </a:cubicBezTo>
                    <a:cubicBezTo>
                      <a:pt x="12" y="7"/>
                      <a:pt x="12" y="7"/>
                      <a:pt x="12" y="7"/>
                    </a:cubicBezTo>
                    <a:cubicBezTo>
                      <a:pt x="7" y="12"/>
                      <a:pt x="7" y="12"/>
                      <a:pt x="7" y="12"/>
                    </a:cubicBezTo>
                    <a:cubicBezTo>
                      <a:pt x="7" y="13"/>
                      <a:pt x="7" y="13"/>
                      <a:pt x="7" y="13"/>
                    </a:cubicBezTo>
                    <a:cubicBezTo>
                      <a:pt x="11" y="21"/>
                      <a:pt x="11" y="21"/>
                      <a:pt x="11" y="21"/>
                    </a:cubicBezTo>
                    <a:cubicBezTo>
                      <a:pt x="9" y="26"/>
                      <a:pt x="9" y="26"/>
                      <a:pt x="9" y="26"/>
                    </a:cubicBezTo>
                    <a:cubicBezTo>
                      <a:pt x="0" y="29"/>
                      <a:pt x="0" y="29"/>
                      <a:pt x="0" y="29"/>
                    </a:cubicBezTo>
                    <a:cubicBezTo>
                      <a:pt x="0" y="37"/>
                      <a:pt x="0" y="37"/>
                      <a:pt x="0" y="37"/>
                    </a:cubicBezTo>
                    <a:cubicBezTo>
                      <a:pt x="1" y="37"/>
                      <a:pt x="1" y="37"/>
                      <a:pt x="1" y="37"/>
                    </a:cubicBezTo>
                    <a:cubicBezTo>
                      <a:pt x="9" y="40"/>
                      <a:pt x="9" y="40"/>
                      <a:pt x="9" y="40"/>
                    </a:cubicBezTo>
                    <a:cubicBezTo>
                      <a:pt x="11" y="45"/>
                      <a:pt x="11" y="45"/>
                      <a:pt x="11" y="45"/>
                    </a:cubicBezTo>
                    <a:cubicBezTo>
                      <a:pt x="7" y="54"/>
                      <a:pt x="7" y="54"/>
                      <a:pt x="7" y="54"/>
                    </a:cubicBezTo>
                    <a:cubicBezTo>
                      <a:pt x="12" y="59"/>
                      <a:pt x="12" y="59"/>
                      <a:pt x="12" y="59"/>
                    </a:cubicBezTo>
                    <a:cubicBezTo>
                      <a:pt x="13" y="59"/>
                      <a:pt x="13" y="59"/>
                      <a:pt x="13" y="59"/>
                    </a:cubicBezTo>
                    <a:cubicBezTo>
                      <a:pt x="21" y="55"/>
                      <a:pt x="21" y="55"/>
                      <a:pt x="21" y="55"/>
                    </a:cubicBezTo>
                    <a:cubicBezTo>
                      <a:pt x="26" y="57"/>
                      <a:pt x="26" y="57"/>
                      <a:pt x="26" y="57"/>
                    </a:cubicBezTo>
                    <a:cubicBezTo>
                      <a:pt x="30" y="66"/>
                      <a:pt x="30" y="66"/>
                      <a:pt x="30" y="66"/>
                    </a:cubicBezTo>
                    <a:cubicBezTo>
                      <a:pt x="37" y="66"/>
                      <a:pt x="37" y="66"/>
                      <a:pt x="37" y="66"/>
                    </a:cubicBezTo>
                    <a:cubicBezTo>
                      <a:pt x="37" y="65"/>
                      <a:pt x="37" y="65"/>
                      <a:pt x="37" y="65"/>
                    </a:cubicBezTo>
                    <a:cubicBezTo>
                      <a:pt x="40" y="57"/>
                      <a:pt x="40" y="57"/>
                      <a:pt x="40" y="57"/>
                    </a:cubicBezTo>
                    <a:cubicBezTo>
                      <a:pt x="45" y="55"/>
                      <a:pt x="45" y="55"/>
                      <a:pt x="45" y="55"/>
                    </a:cubicBezTo>
                    <a:cubicBezTo>
                      <a:pt x="54" y="59"/>
                      <a:pt x="54" y="59"/>
                      <a:pt x="54" y="59"/>
                    </a:cubicBezTo>
                    <a:cubicBezTo>
                      <a:pt x="59" y="54"/>
                      <a:pt x="59" y="54"/>
                      <a:pt x="59" y="54"/>
                    </a:cubicBezTo>
                    <a:cubicBezTo>
                      <a:pt x="59" y="53"/>
                      <a:pt x="59" y="53"/>
                      <a:pt x="59" y="53"/>
                    </a:cubicBezTo>
                    <a:cubicBezTo>
                      <a:pt x="55" y="45"/>
                      <a:pt x="55" y="45"/>
                      <a:pt x="55" y="45"/>
                    </a:cubicBezTo>
                    <a:cubicBezTo>
                      <a:pt x="57" y="40"/>
                      <a:pt x="57" y="40"/>
                      <a:pt x="57" y="40"/>
                    </a:cubicBezTo>
                    <a:lnTo>
                      <a:pt x="66" y="37"/>
                    </a:lnTo>
                    <a:close/>
                    <a:moveTo>
                      <a:pt x="33" y="49"/>
                    </a:moveTo>
                    <a:cubicBezTo>
                      <a:pt x="25" y="49"/>
                      <a:pt x="18" y="42"/>
                      <a:pt x="18" y="33"/>
                    </a:cubicBezTo>
                    <a:cubicBezTo>
                      <a:pt x="18" y="25"/>
                      <a:pt x="25" y="18"/>
                      <a:pt x="33" y="18"/>
                    </a:cubicBezTo>
                    <a:cubicBezTo>
                      <a:pt x="42" y="18"/>
                      <a:pt x="49" y="25"/>
                      <a:pt x="49" y="33"/>
                    </a:cubicBezTo>
                    <a:cubicBezTo>
                      <a:pt x="49" y="42"/>
                      <a:pt x="42" y="49"/>
                      <a:pt x="33" y="4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grpSp>
      </p:grpSp>
      <p:grpSp>
        <p:nvGrpSpPr>
          <p:cNvPr id="368" name="Group 367"/>
          <p:cNvGrpSpPr/>
          <p:nvPr/>
        </p:nvGrpSpPr>
        <p:grpSpPr>
          <a:xfrm>
            <a:off x="8265167" y="5236949"/>
            <a:ext cx="712686" cy="712686"/>
            <a:chOff x="6232278" y="4669397"/>
            <a:chExt cx="726977" cy="726977"/>
          </a:xfrm>
        </p:grpSpPr>
        <p:sp>
          <p:nvSpPr>
            <p:cNvPr id="369" name="Oval 368"/>
            <p:cNvSpPr/>
            <p:nvPr/>
          </p:nvSpPr>
          <p:spPr bwMode="auto">
            <a:xfrm>
              <a:off x="6232278" y="4669397"/>
              <a:ext cx="726977" cy="726977"/>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370" name="Group 4"/>
            <p:cNvGrpSpPr>
              <a:grpSpLocks noChangeAspect="1"/>
            </p:cNvGrpSpPr>
            <p:nvPr/>
          </p:nvGrpSpPr>
          <p:grpSpPr bwMode="auto">
            <a:xfrm>
              <a:off x="6374004" y="4816303"/>
              <a:ext cx="443524" cy="444596"/>
              <a:chOff x="3826" y="3058"/>
              <a:chExt cx="414" cy="415"/>
            </a:xfrm>
            <a:solidFill>
              <a:schemeClr val="tx1"/>
            </a:solidFill>
          </p:grpSpPr>
          <p:sp>
            <p:nvSpPr>
              <p:cNvPr id="371"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dirty="0">
                  <a:solidFill>
                    <a:srgbClr val="FFFFFF"/>
                  </a:solidFill>
                  <a:latin typeface="Segoe UI"/>
                </a:endParaRPr>
              </a:p>
            </p:txBody>
          </p:sp>
          <p:sp>
            <p:nvSpPr>
              <p:cNvPr id="372"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73"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74"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75"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grpSp>
      </p:grpSp>
    </p:spTree>
    <p:extLst>
      <p:ext uri="{BB962C8B-B14F-4D97-AF65-F5344CB8AC3E}">
        <p14:creationId xmlns:p14="http://schemas.microsoft.com/office/powerpoint/2010/main" val="3358675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E07786-E8D8-4ACD-BD26-200AE5002E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4E07786-E8D8-4ACD-BD26-200AE5002E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3" name="Title 2">
            <a:extLst>
              <a:ext uri="{FF2B5EF4-FFF2-40B4-BE49-F238E27FC236}">
                <a16:creationId xmlns:a16="http://schemas.microsoft.com/office/drawing/2014/main" id="{EE3A8DF0-44F6-471C-A4E9-0898E6431289}"/>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Transforming with data: the Business Analyst role</a:t>
            </a:r>
          </a:p>
        </p:txBody>
      </p:sp>
      <p:sp>
        <p:nvSpPr>
          <p:cNvPr id="31" name="Rectangle 30">
            <a:extLst>
              <a:ext uri="{FF2B5EF4-FFF2-40B4-BE49-F238E27FC236}">
                <a16:creationId xmlns:a16="http://schemas.microsoft.com/office/drawing/2014/main" id="{BF331D1B-8190-4C03-A84B-56D009C28B58}"/>
              </a:ext>
            </a:extLst>
          </p:cNvPr>
          <p:cNvSpPr/>
          <p:nvPr/>
        </p:nvSpPr>
        <p:spPr bwMode="auto">
          <a:xfrm>
            <a:off x="6279853" y="4559798"/>
            <a:ext cx="5029200" cy="1623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842482" rtl="0" eaLnBrk="1" fontAlgn="base" latinLnBrk="0" hangingPunct="1">
              <a:lnSpc>
                <a:spcPct val="100000"/>
              </a:lnSpc>
              <a:spcBef>
                <a:spcPts val="0"/>
              </a:spcBef>
              <a:spcAft>
                <a:spcPts val="784"/>
              </a:spcAft>
              <a:buClrTx/>
              <a:buSzTx/>
              <a:buFontTx/>
              <a:buNone/>
              <a:tabLst/>
              <a:defRPr/>
            </a:pPr>
            <a:r>
              <a:rPr kumimoji="0" lang="en-US" sz="2400" b="0" i="0" u="none" strike="noStrike" kern="0" cap="none" spc="0" normalizeH="0" baseline="0" noProof="0" dirty="0">
                <a:ln>
                  <a:solidFill>
                    <a:srgbClr val="FFFFFF">
                      <a:alpha val="0"/>
                    </a:srgbClr>
                  </a:solidFill>
                </a:ln>
                <a:solidFill>
                  <a:srgbClr val="353535"/>
                </a:solidFill>
                <a:effectLst/>
                <a:uLnTx/>
                <a:uFillTx/>
                <a:latin typeface="Segoe UI Semilight"/>
                <a:ea typeface="Segoe UI" pitchFamily="34" charset="0"/>
                <a:cs typeface="Segoe UI" pitchFamily="34" charset="0"/>
              </a:rPr>
              <a:t>Power BI Desktop is a                     </a:t>
            </a:r>
            <a:r>
              <a:rPr kumimoji="0" lang="en-US" sz="2400" b="1" i="0" u="none" strike="noStrike" kern="0" cap="none" spc="0" normalizeH="0" baseline="0" noProof="0" dirty="0">
                <a:ln>
                  <a:solidFill>
                    <a:srgbClr val="FFFFFF">
                      <a:alpha val="0"/>
                    </a:srgbClr>
                  </a:solidFill>
                </a:ln>
                <a:solidFill>
                  <a:srgbClr val="0078D7"/>
                </a:solidFill>
                <a:effectLst/>
                <a:uLnTx/>
                <a:uFillTx/>
                <a:latin typeface="Segoe UI Semilight"/>
                <a:ea typeface="Segoe UI" pitchFamily="34" charset="0"/>
                <a:cs typeface="Segoe UI" pitchFamily="34" charset="0"/>
              </a:rPr>
              <a:t>free companion authoring tool </a:t>
            </a:r>
            <a:r>
              <a:rPr kumimoji="0" lang="en-US" sz="2400" b="0" i="0" u="none" strike="noStrike" kern="0" cap="none" spc="0" normalizeH="0" baseline="0" noProof="0" dirty="0">
                <a:ln>
                  <a:solidFill>
                    <a:srgbClr val="FFFFFF">
                      <a:alpha val="0"/>
                    </a:srgbClr>
                  </a:solidFill>
                </a:ln>
                <a:solidFill>
                  <a:srgbClr val="353535"/>
                </a:solidFill>
                <a:effectLst/>
                <a:uLnTx/>
                <a:uFillTx/>
                <a:latin typeface="Segoe UI Semilight"/>
                <a:ea typeface="Segoe UI" pitchFamily="34" charset="0"/>
                <a:cs typeface="Segoe UI" pitchFamily="34" charset="0"/>
              </a:rPr>
              <a:t>for the Power BI service, updated monthly with new features</a:t>
            </a:r>
          </a:p>
        </p:txBody>
      </p:sp>
      <p:grpSp>
        <p:nvGrpSpPr>
          <p:cNvPr id="3" name="Group 2">
            <a:extLst>
              <a:ext uri="{FF2B5EF4-FFF2-40B4-BE49-F238E27FC236}">
                <a16:creationId xmlns:a16="http://schemas.microsoft.com/office/drawing/2014/main" id="{B01FA3A5-C8B3-4DE2-9D8B-935C3D647CF2}"/>
              </a:ext>
            </a:extLst>
          </p:cNvPr>
          <p:cNvGrpSpPr/>
          <p:nvPr/>
        </p:nvGrpSpPr>
        <p:grpSpPr>
          <a:xfrm>
            <a:off x="6523392" y="1397322"/>
            <a:ext cx="4524973" cy="2877184"/>
            <a:chOff x="6523392" y="1397322"/>
            <a:chExt cx="4524973" cy="2877184"/>
          </a:xfrm>
        </p:grpSpPr>
        <p:pic>
          <p:nvPicPr>
            <p:cNvPr id="40" name="Picture 39" descr="A screenshot of a computer screen&#10;&#10;Description generated with very high confidence">
              <a:extLst>
                <a:ext uri="{FF2B5EF4-FFF2-40B4-BE49-F238E27FC236}">
                  <a16:creationId xmlns:a16="http://schemas.microsoft.com/office/drawing/2014/main" id="{C79B1935-5CD3-4B09-BCBA-BE4E2F7320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23392" y="1397322"/>
              <a:ext cx="4524973" cy="2877184"/>
            </a:xfrm>
            <a:prstGeom prst="rect">
              <a:avLst/>
            </a:prstGeom>
          </p:spPr>
        </p:pic>
        <p:pic>
          <p:nvPicPr>
            <p:cNvPr id="42" name="Picture 41" descr="A screenshot of a computer&#10;&#10;Description generated with very high confidence">
              <a:extLst>
                <a:ext uri="{FF2B5EF4-FFF2-40B4-BE49-F238E27FC236}">
                  <a16:creationId xmlns:a16="http://schemas.microsoft.com/office/drawing/2014/main" id="{3A06C794-9E53-4D4E-8FEC-3DD7C4A055A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11957" y="1800725"/>
              <a:ext cx="3364992" cy="2019921"/>
            </a:xfrm>
            <a:prstGeom prst="rect">
              <a:avLst/>
            </a:prstGeom>
          </p:spPr>
        </p:pic>
      </p:grpSp>
      <p:grpSp>
        <p:nvGrpSpPr>
          <p:cNvPr id="4" name="Group 3">
            <a:extLst>
              <a:ext uri="{FF2B5EF4-FFF2-40B4-BE49-F238E27FC236}">
                <a16:creationId xmlns:a16="http://schemas.microsoft.com/office/drawing/2014/main" id="{9BCB4B1D-8FB6-4346-ACE0-C1E236A75CEC}"/>
              </a:ext>
            </a:extLst>
          </p:cNvPr>
          <p:cNvGrpSpPr/>
          <p:nvPr/>
        </p:nvGrpSpPr>
        <p:grpSpPr>
          <a:xfrm>
            <a:off x="-1477085" y="1189176"/>
            <a:ext cx="7661599" cy="5265153"/>
            <a:chOff x="-1477085" y="1189176"/>
            <a:chExt cx="7661599" cy="5265153"/>
          </a:xfrm>
        </p:grpSpPr>
        <p:sp>
          <p:nvSpPr>
            <p:cNvPr id="165" name="Rectangle 164">
              <a:extLst>
                <a:ext uri="{FF2B5EF4-FFF2-40B4-BE49-F238E27FC236}">
                  <a16:creationId xmlns:a16="http://schemas.microsoft.com/office/drawing/2014/main" id="{02F402BB-1A44-4317-863E-C0BC7B0AE4DD}"/>
                </a:ext>
              </a:extLst>
            </p:cNvPr>
            <p:cNvSpPr/>
            <p:nvPr/>
          </p:nvSpPr>
          <p:spPr>
            <a:xfrm>
              <a:off x="4104490" y="351450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a:t>
              </a:r>
            </a:p>
          </p:txBody>
        </p:sp>
        <p:sp>
          <p:nvSpPr>
            <p:cNvPr id="27" name="Oval 26">
              <a:extLst>
                <a:ext uri="{FF2B5EF4-FFF2-40B4-BE49-F238E27FC236}">
                  <a16:creationId xmlns:a16="http://schemas.microsoft.com/office/drawing/2014/main" id="{30DC240E-5D69-4E10-98BE-57EA62E42649}"/>
                </a:ext>
              </a:extLst>
            </p:cNvPr>
            <p:cNvSpPr/>
            <p:nvPr/>
          </p:nvSpPr>
          <p:spPr bwMode="auto">
            <a:xfrm>
              <a:off x="-1477085" y="1312439"/>
              <a:ext cx="5029200" cy="5029200"/>
            </a:xfrm>
            <a:prstGeom prst="ellipse">
              <a:avLst/>
            </a:prstGeom>
            <a:blipFill dpi="0" rotWithShape="1">
              <a:blip r:embed="rId9">
                <a:extLst>
                  <a:ext uri="{28A0092B-C50C-407E-A947-70E740481C1C}">
                    <a14:useLocalDpi xmlns:a14="http://schemas.microsoft.com/office/drawing/2010/main" val="0"/>
                  </a:ext>
                </a:extLst>
              </a:blip>
              <a:srcRect/>
              <a:stretch>
                <a:fillRect/>
              </a:stretch>
            </a:blip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Rectangle 27">
              <a:extLst>
                <a:ext uri="{FF2B5EF4-FFF2-40B4-BE49-F238E27FC236}">
                  <a16:creationId xmlns:a16="http://schemas.microsoft.com/office/drawing/2014/main" id="{BD7E9135-66C7-44FB-9B68-1119CC6FCE8D}"/>
                </a:ext>
              </a:extLst>
            </p:cNvPr>
            <p:cNvSpPr/>
            <p:nvPr/>
          </p:nvSpPr>
          <p:spPr>
            <a:xfrm>
              <a:off x="2778333" y="1374773"/>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Get Data</a:t>
              </a:r>
            </a:p>
          </p:txBody>
        </p:sp>
        <p:sp>
          <p:nvSpPr>
            <p:cNvPr id="29" name="Oval 28">
              <a:extLst>
                <a:ext uri="{FF2B5EF4-FFF2-40B4-BE49-F238E27FC236}">
                  <a16:creationId xmlns:a16="http://schemas.microsoft.com/office/drawing/2014/main" id="{2CFCC1A8-3AE6-45A8-9849-395397820C80}"/>
                </a:ext>
              </a:extLst>
            </p:cNvPr>
            <p:cNvSpPr/>
            <p:nvPr/>
          </p:nvSpPr>
          <p:spPr bwMode="auto">
            <a:xfrm>
              <a:off x="3039665" y="3269146"/>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2D6FF5EA-23BF-4154-9537-0857E7FFA672}"/>
                </a:ext>
              </a:extLst>
            </p:cNvPr>
            <p:cNvSpPr/>
            <p:nvPr/>
          </p:nvSpPr>
          <p:spPr bwMode="auto">
            <a:xfrm>
              <a:off x="1757437" y="1189176"/>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D2A9E451-C10E-42F9-9EA8-C724E1FEF002}"/>
                </a:ext>
              </a:extLst>
            </p:cNvPr>
            <p:cNvSpPr/>
            <p:nvPr/>
          </p:nvSpPr>
          <p:spPr bwMode="auto">
            <a:xfrm>
              <a:off x="2735845" y="2035212"/>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A76E928E-9186-4140-8AD8-D302D385F017}"/>
                </a:ext>
              </a:extLst>
            </p:cNvPr>
            <p:cNvSpPr/>
            <p:nvPr/>
          </p:nvSpPr>
          <p:spPr bwMode="auto">
            <a:xfrm>
              <a:off x="2735845" y="4497513"/>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E0E0A94-EBCE-4F19-9CC1-49F5AB629726}"/>
                </a:ext>
              </a:extLst>
            </p:cNvPr>
            <p:cNvSpPr/>
            <p:nvPr/>
          </p:nvSpPr>
          <p:spPr bwMode="auto">
            <a:xfrm>
              <a:off x="1757437" y="5475921"/>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AC936C31-E712-4F1B-B775-D8E602A28227}"/>
                </a:ext>
              </a:extLst>
            </p:cNvPr>
            <p:cNvSpPr/>
            <p:nvPr/>
          </p:nvSpPr>
          <p:spPr>
            <a:xfrm>
              <a:off x="3752039" y="228713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nalyze</a:t>
              </a:r>
            </a:p>
          </p:txBody>
        </p:sp>
        <p:sp>
          <p:nvSpPr>
            <p:cNvPr id="36" name="Rectangle 35">
              <a:extLst>
                <a:ext uri="{FF2B5EF4-FFF2-40B4-BE49-F238E27FC236}">
                  <a16:creationId xmlns:a16="http://schemas.microsoft.com/office/drawing/2014/main" id="{B4DAEC5E-E052-4AD9-82EE-85206FC9C013}"/>
                </a:ext>
              </a:extLst>
            </p:cNvPr>
            <p:cNvSpPr/>
            <p:nvPr/>
          </p:nvSpPr>
          <p:spPr>
            <a:xfrm>
              <a:off x="4104490" y="351450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a:t>
              </a:r>
            </a:p>
          </p:txBody>
        </p:sp>
        <p:sp>
          <p:nvSpPr>
            <p:cNvPr id="37" name="Rectangle 36">
              <a:extLst>
                <a:ext uri="{FF2B5EF4-FFF2-40B4-BE49-F238E27FC236}">
                  <a16:creationId xmlns:a16="http://schemas.microsoft.com/office/drawing/2014/main" id="{67A5EF4C-22D8-462D-8FFB-797129B4E211}"/>
                </a:ext>
              </a:extLst>
            </p:cNvPr>
            <p:cNvSpPr/>
            <p:nvPr/>
          </p:nvSpPr>
          <p:spPr>
            <a:xfrm>
              <a:off x="3752039" y="4847237"/>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ublish</a:t>
              </a:r>
            </a:p>
          </p:txBody>
        </p:sp>
        <p:sp>
          <p:nvSpPr>
            <p:cNvPr id="38" name="Rectangle 37">
              <a:extLst>
                <a:ext uri="{FF2B5EF4-FFF2-40B4-BE49-F238E27FC236}">
                  <a16:creationId xmlns:a16="http://schemas.microsoft.com/office/drawing/2014/main" id="{9BAAF9BE-702F-4124-886E-5425C074ECB4}"/>
                </a:ext>
              </a:extLst>
            </p:cNvPr>
            <p:cNvSpPr/>
            <p:nvPr/>
          </p:nvSpPr>
          <p:spPr>
            <a:xfrm>
              <a:off x="2778333" y="5825645"/>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llaborate</a:t>
              </a:r>
            </a:p>
          </p:txBody>
        </p:sp>
        <p:sp>
          <p:nvSpPr>
            <p:cNvPr id="39" name="Freeform 83">
              <a:extLst>
                <a:ext uri="{FF2B5EF4-FFF2-40B4-BE49-F238E27FC236}">
                  <a16:creationId xmlns:a16="http://schemas.microsoft.com/office/drawing/2014/main" id="{27B9A41D-134B-4765-95B4-866F7E5D7A2D}"/>
                </a:ext>
              </a:extLst>
            </p:cNvPr>
            <p:cNvSpPr>
              <a:spLocks noEditPoints="1"/>
            </p:cNvSpPr>
            <p:nvPr/>
          </p:nvSpPr>
          <p:spPr bwMode="black">
            <a:xfrm>
              <a:off x="1972270" y="1350074"/>
              <a:ext cx="548741" cy="56865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1"/>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 name="Freeform 25">
              <a:extLst>
                <a:ext uri="{FF2B5EF4-FFF2-40B4-BE49-F238E27FC236}">
                  <a16:creationId xmlns:a16="http://schemas.microsoft.com/office/drawing/2014/main" id="{0E297178-C019-4C7F-8EB6-9536B0CB92E1}"/>
                </a:ext>
              </a:extLst>
            </p:cNvPr>
            <p:cNvSpPr>
              <a:spLocks noEditPoints="1"/>
            </p:cNvSpPr>
            <p:nvPr/>
          </p:nvSpPr>
          <p:spPr bwMode="black">
            <a:xfrm>
              <a:off x="2961618" y="4667770"/>
              <a:ext cx="548984" cy="60853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44" name="Group 43">
              <a:extLst>
                <a:ext uri="{FF2B5EF4-FFF2-40B4-BE49-F238E27FC236}">
                  <a16:creationId xmlns:a16="http://schemas.microsoft.com/office/drawing/2014/main" id="{92A33FFE-E42A-4A67-BB5C-8DC4C8DFA1B3}"/>
                </a:ext>
              </a:extLst>
            </p:cNvPr>
            <p:cNvGrpSpPr/>
            <p:nvPr/>
          </p:nvGrpSpPr>
          <p:grpSpPr>
            <a:xfrm>
              <a:off x="2927103" y="2271888"/>
              <a:ext cx="707423" cy="541203"/>
              <a:chOff x="-952377" y="6149211"/>
              <a:chExt cx="1301342" cy="940471"/>
            </a:xfrm>
          </p:grpSpPr>
          <p:sp>
            <p:nvSpPr>
              <p:cNvPr id="45" name="Rectangle 44">
                <a:extLst>
                  <a:ext uri="{FF2B5EF4-FFF2-40B4-BE49-F238E27FC236}">
                    <a16:creationId xmlns:a16="http://schemas.microsoft.com/office/drawing/2014/main" id="{BC58ECDC-1D42-4A89-8782-01D4D75FE04D}"/>
                  </a:ext>
                </a:extLst>
              </p:cNvPr>
              <p:cNvSpPr/>
              <p:nvPr/>
            </p:nvSpPr>
            <p:spPr bwMode="auto">
              <a:xfrm>
                <a:off x="-952377" y="6149211"/>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3100E0D-E635-404D-8CA0-784D04B9EA83}"/>
                  </a:ext>
                </a:extLst>
              </p:cNvPr>
              <p:cNvCxnSpPr/>
              <p:nvPr/>
            </p:nvCxnSpPr>
            <p:spPr>
              <a:xfrm flipH="1">
                <a:off x="-941546" y="6183363"/>
                <a:ext cx="480781"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E18C45F2-48F9-4F0C-A43C-EEC3483B5BAF}"/>
                  </a:ext>
                </a:extLst>
              </p:cNvPr>
              <p:cNvSpPr/>
              <p:nvPr/>
            </p:nvSpPr>
            <p:spPr bwMode="auto">
              <a:xfrm>
                <a:off x="-142648" y="6396961"/>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8" name="Straight Connector 47">
                <a:extLst>
                  <a:ext uri="{FF2B5EF4-FFF2-40B4-BE49-F238E27FC236}">
                    <a16:creationId xmlns:a16="http://schemas.microsoft.com/office/drawing/2014/main" id="{C6DD7477-B4A2-4971-B13D-A17C5BEC37BD}"/>
                  </a:ext>
                </a:extLst>
              </p:cNvPr>
              <p:cNvCxnSpPr/>
              <p:nvPr/>
            </p:nvCxnSpPr>
            <p:spPr>
              <a:xfrm flipH="1">
                <a:off x="-131817" y="6431112"/>
                <a:ext cx="480782"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27F886A6-91B5-4C7E-894C-7153A09EF5F3}"/>
                  </a:ext>
                </a:extLst>
              </p:cNvPr>
              <p:cNvSpPr/>
              <p:nvPr/>
            </p:nvSpPr>
            <p:spPr bwMode="auto">
              <a:xfrm>
                <a:off x="-849095" y="6730972"/>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388D0749-5A84-4968-8AF1-10CA1CC50211}"/>
                  </a:ext>
                </a:extLst>
              </p:cNvPr>
              <p:cNvCxnSpPr/>
              <p:nvPr/>
            </p:nvCxnSpPr>
            <p:spPr>
              <a:xfrm flipH="1">
                <a:off x="-838264" y="6765123"/>
                <a:ext cx="480782"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B222E3D-6B17-4CD6-8214-1295999D2C20}"/>
                  </a:ext>
                </a:extLst>
              </p:cNvPr>
              <p:cNvSpPr/>
              <p:nvPr/>
            </p:nvSpPr>
            <p:spPr bwMode="auto">
              <a:xfrm rot="20066219">
                <a:off x="-696171" y="6775590"/>
                <a:ext cx="881959" cy="45719"/>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Rectangle 51">
                <a:extLst>
                  <a:ext uri="{FF2B5EF4-FFF2-40B4-BE49-F238E27FC236}">
                    <a16:creationId xmlns:a16="http://schemas.microsoft.com/office/drawing/2014/main" id="{FE02E853-7567-4D35-B01C-2F3DA2DB3EA3}"/>
                  </a:ext>
                </a:extLst>
              </p:cNvPr>
              <p:cNvSpPr/>
              <p:nvPr/>
            </p:nvSpPr>
            <p:spPr bwMode="auto">
              <a:xfrm rot="1148353">
                <a:off x="-754785" y="6447347"/>
                <a:ext cx="881959" cy="45719"/>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Oval 52">
                <a:extLst>
                  <a:ext uri="{FF2B5EF4-FFF2-40B4-BE49-F238E27FC236}">
                    <a16:creationId xmlns:a16="http://schemas.microsoft.com/office/drawing/2014/main" id="{DE2AC107-7EE9-473F-ADCF-374996252C90}"/>
                  </a:ext>
                </a:extLst>
              </p:cNvPr>
              <p:cNvSpPr/>
              <p:nvPr/>
            </p:nvSpPr>
            <p:spPr bwMode="auto">
              <a:xfrm>
                <a:off x="53536" y="6557068"/>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659656F9-1EAA-4077-A9AE-813A36BEDEC8}"/>
                  </a:ext>
                </a:extLst>
              </p:cNvPr>
              <p:cNvSpPr/>
              <p:nvPr/>
            </p:nvSpPr>
            <p:spPr bwMode="auto">
              <a:xfrm rot="4927691">
                <a:off x="-958661" y="6649665"/>
                <a:ext cx="635496" cy="45718"/>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Oval 54">
                <a:extLst>
                  <a:ext uri="{FF2B5EF4-FFF2-40B4-BE49-F238E27FC236}">
                    <a16:creationId xmlns:a16="http://schemas.microsoft.com/office/drawing/2014/main" id="{EA9B2D01-DE5D-4C9D-A33A-1BC65824DF3F}"/>
                  </a:ext>
                </a:extLst>
              </p:cNvPr>
              <p:cNvSpPr/>
              <p:nvPr/>
            </p:nvSpPr>
            <p:spPr bwMode="auto">
              <a:xfrm>
                <a:off x="-667297" y="6889189"/>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Oval 55">
                <a:extLst>
                  <a:ext uri="{FF2B5EF4-FFF2-40B4-BE49-F238E27FC236}">
                    <a16:creationId xmlns:a16="http://schemas.microsoft.com/office/drawing/2014/main" id="{B8CD09FE-0BF3-49A1-88AA-3E6B3B1E9927}"/>
                  </a:ext>
                </a:extLst>
              </p:cNvPr>
              <p:cNvSpPr/>
              <p:nvPr/>
            </p:nvSpPr>
            <p:spPr bwMode="auto">
              <a:xfrm>
                <a:off x="-749357" y="6291317"/>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7" name="Freeform 45">
              <a:extLst>
                <a:ext uri="{FF2B5EF4-FFF2-40B4-BE49-F238E27FC236}">
                  <a16:creationId xmlns:a16="http://schemas.microsoft.com/office/drawing/2014/main" id="{44EAEE32-9FEA-4F6C-B0DD-0A137FAC4286}"/>
                </a:ext>
              </a:extLst>
            </p:cNvPr>
            <p:cNvSpPr>
              <a:spLocks noChangeAspect="1"/>
            </p:cNvSpPr>
            <p:nvPr/>
          </p:nvSpPr>
          <p:spPr bwMode="auto">
            <a:xfrm>
              <a:off x="3239601" y="3522413"/>
              <a:ext cx="622281" cy="480753"/>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grpSp>
          <p:nvGrpSpPr>
            <p:cNvPr id="58" name="Group 57">
              <a:extLst>
                <a:ext uri="{FF2B5EF4-FFF2-40B4-BE49-F238E27FC236}">
                  <a16:creationId xmlns:a16="http://schemas.microsoft.com/office/drawing/2014/main" id="{4E73AAB9-FC5E-49AE-AD18-8B887A63B11A}"/>
                </a:ext>
              </a:extLst>
            </p:cNvPr>
            <p:cNvGrpSpPr/>
            <p:nvPr/>
          </p:nvGrpSpPr>
          <p:grpSpPr>
            <a:xfrm>
              <a:off x="1838839" y="5477353"/>
              <a:ext cx="836008" cy="967652"/>
              <a:chOff x="3519895" y="5477353"/>
              <a:chExt cx="836008" cy="967652"/>
            </a:xfrm>
          </p:grpSpPr>
          <p:pic>
            <p:nvPicPr>
              <p:cNvPr id="59" name="Graphic 58" descr="Laptop">
                <a:extLst>
                  <a:ext uri="{FF2B5EF4-FFF2-40B4-BE49-F238E27FC236}">
                    <a16:creationId xmlns:a16="http://schemas.microsoft.com/office/drawing/2014/main" id="{FDC6F945-5D13-4F70-8754-F88E593E15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43588" y="5477353"/>
                <a:ext cx="449620" cy="449620"/>
              </a:xfrm>
              <a:prstGeom prst="rect">
                <a:avLst/>
              </a:prstGeom>
            </p:spPr>
          </p:pic>
          <p:pic>
            <p:nvPicPr>
              <p:cNvPr id="60" name="Graphic 59" descr="Smart Phone">
                <a:extLst>
                  <a:ext uri="{FF2B5EF4-FFF2-40B4-BE49-F238E27FC236}">
                    <a16:creationId xmlns:a16="http://schemas.microsoft.com/office/drawing/2014/main" id="{104273C5-1F64-404F-A3CB-E0AFA81630E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39086" y="5883028"/>
                <a:ext cx="316817" cy="316817"/>
              </a:xfrm>
              <a:prstGeom prst="rect">
                <a:avLst/>
              </a:prstGeom>
            </p:spPr>
          </p:pic>
          <p:pic>
            <p:nvPicPr>
              <p:cNvPr id="61" name="Graphic 60" descr="Tablet">
                <a:extLst>
                  <a:ext uri="{FF2B5EF4-FFF2-40B4-BE49-F238E27FC236}">
                    <a16:creationId xmlns:a16="http://schemas.microsoft.com/office/drawing/2014/main" id="{D8347A99-72CE-4EB6-A5B0-8F2D9542C2D3}"/>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19895" y="5778197"/>
                <a:ext cx="347308" cy="347308"/>
              </a:xfrm>
              <a:prstGeom prst="rect">
                <a:avLst/>
              </a:prstGeom>
            </p:spPr>
          </p:pic>
          <p:pic>
            <p:nvPicPr>
              <p:cNvPr id="62" name="Graphic 61" descr="Monitor">
                <a:extLst>
                  <a:ext uri="{FF2B5EF4-FFF2-40B4-BE49-F238E27FC236}">
                    <a16:creationId xmlns:a16="http://schemas.microsoft.com/office/drawing/2014/main" id="{6A8846BF-EBB8-450E-BF3E-51C04E4FE9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94746" y="6011420"/>
                <a:ext cx="433585" cy="433585"/>
              </a:xfrm>
              <a:prstGeom prst="rect">
                <a:avLst/>
              </a:prstGeom>
            </p:spPr>
          </p:pic>
        </p:grpSp>
        <p:pic>
          <p:nvPicPr>
            <p:cNvPr id="63" name="Graphic 62" descr="Bar chart">
              <a:extLst>
                <a:ext uri="{FF2B5EF4-FFF2-40B4-BE49-F238E27FC236}">
                  <a16:creationId xmlns:a16="http://schemas.microsoft.com/office/drawing/2014/main" id="{9A57B2A5-EBB8-4424-91DF-E21CBC549AD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069927" y="6079116"/>
              <a:ext cx="241026" cy="241026"/>
            </a:xfrm>
            <a:prstGeom prst="rect">
              <a:avLst/>
            </a:prstGeom>
          </p:spPr>
        </p:pic>
        <p:pic>
          <p:nvPicPr>
            <p:cNvPr id="64" name="Graphic 63" descr="Bar chart">
              <a:extLst>
                <a:ext uri="{FF2B5EF4-FFF2-40B4-BE49-F238E27FC236}">
                  <a16:creationId xmlns:a16="http://schemas.microsoft.com/office/drawing/2014/main" id="{8024824E-A03A-4454-A0B9-766A22C872A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52486" y="5586635"/>
              <a:ext cx="188731" cy="188731"/>
            </a:xfrm>
            <a:prstGeom prst="rect">
              <a:avLst/>
            </a:prstGeom>
          </p:spPr>
        </p:pic>
        <p:pic>
          <p:nvPicPr>
            <p:cNvPr id="65" name="Graphic 64" descr="Bar chart">
              <a:extLst>
                <a:ext uri="{FF2B5EF4-FFF2-40B4-BE49-F238E27FC236}">
                  <a16:creationId xmlns:a16="http://schemas.microsoft.com/office/drawing/2014/main" id="{BFB307BF-7A6B-4E1A-A2E8-00391513D4E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83007" y="5865250"/>
              <a:ext cx="180966" cy="180966"/>
            </a:xfrm>
            <a:prstGeom prst="rect">
              <a:avLst/>
            </a:prstGeom>
          </p:spPr>
        </p:pic>
        <p:pic>
          <p:nvPicPr>
            <p:cNvPr id="66" name="Graphic 65" descr="Bar chart">
              <a:extLst>
                <a:ext uri="{FF2B5EF4-FFF2-40B4-BE49-F238E27FC236}">
                  <a16:creationId xmlns:a16="http://schemas.microsoft.com/office/drawing/2014/main" id="{DE49361F-18BE-4278-952C-236ABA8CAF7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72896" y="5972771"/>
              <a:ext cx="63240" cy="180966"/>
            </a:xfrm>
            <a:prstGeom prst="rect">
              <a:avLst/>
            </a:prstGeom>
          </p:spPr>
        </p:pic>
      </p:grpSp>
    </p:spTree>
    <p:extLst>
      <p:ext uri="{BB962C8B-B14F-4D97-AF65-F5344CB8AC3E}">
        <p14:creationId xmlns:p14="http://schemas.microsoft.com/office/powerpoint/2010/main" val="3524371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Get Data: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Easily connect, clean, and mashup data</a:t>
            </a:r>
          </a:p>
        </p:txBody>
      </p:sp>
      <p:sp>
        <p:nvSpPr>
          <p:cNvPr id="26" name="Rectangle 25">
            <a:extLst>
              <a:ext uri="{FF2B5EF4-FFF2-40B4-BE49-F238E27FC236}">
                <a16:creationId xmlns:a16="http://schemas.microsoft.com/office/drawing/2014/main" id="{B2166104-2D4A-4BF0-8FB7-8360AB56A7A2}"/>
              </a:ext>
            </a:extLst>
          </p:cNvPr>
          <p:cNvSpPr/>
          <p:nvPr/>
        </p:nvSpPr>
        <p:spPr>
          <a:xfrm>
            <a:off x="2189865" y="1878026"/>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nnect to 80+ data sources, both on-premises and cloud</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Shape, transform, and clean data for analysi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Live connectivity to on-premises and cloud data source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Extend with custom data connectors for any data source</a:t>
            </a:r>
          </a:p>
        </p:txBody>
      </p:sp>
      <p:grpSp>
        <p:nvGrpSpPr>
          <p:cNvPr id="3" name="Group 2">
            <a:extLst>
              <a:ext uri="{FF2B5EF4-FFF2-40B4-BE49-F238E27FC236}">
                <a16:creationId xmlns:a16="http://schemas.microsoft.com/office/drawing/2014/main" id="{1F370164-AB0B-4C9B-A94D-05459707390B}"/>
              </a:ext>
            </a:extLst>
          </p:cNvPr>
          <p:cNvGrpSpPr/>
          <p:nvPr/>
        </p:nvGrpSpPr>
        <p:grpSpPr>
          <a:xfrm>
            <a:off x="7132320" y="1645920"/>
            <a:ext cx="7031501" cy="4546355"/>
            <a:chOff x="6737920" y="1622433"/>
            <a:chExt cx="7031501" cy="4546355"/>
          </a:xfrm>
        </p:grpSpPr>
        <p:pic>
          <p:nvPicPr>
            <p:cNvPr id="256" name="Picture 255" descr="A screenshot of a computer screen&#10;&#10;Description generated with very high confidence">
              <a:extLst>
                <a:ext uri="{FF2B5EF4-FFF2-40B4-BE49-F238E27FC236}">
                  <a16:creationId xmlns:a16="http://schemas.microsoft.com/office/drawing/2014/main" id="{77C75CC6-BE57-49E9-9752-28C1993425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grpSp>
          <p:nvGrpSpPr>
            <p:cNvPr id="369" name="Group 368">
              <a:extLst>
                <a:ext uri="{FF2B5EF4-FFF2-40B4-BE49-F238E27FC236}">
                  <a16:creationId xmlns:a16="http://schemas.microsoft.com/office/drawing/2014/main" id="{3B96D5FC-437A-4A65-B671-32C3D34C3418}"/>
                </a:ext>
              </a:extLst>
            </p:cNvPr>
            <p:cNvGrpSpPr/>
            <p:nvPr/>
          </p:nvGrpSpPr>
          <p:grpSpPr>
            <a:xfrm>
              <a:off x="7669378" y="2266481"/>
              <a:ext cx="5227755" cy="3192623"/>
              <a:chOff x="1509317" y="2460290"/>
              <a:chExt cx="4041747" cy="2376886"/>
            </a:xfrm>
          </p:grpSpPr>
          <p:sp>
            <p:nvSpPr>
              <p:cNvPr id="370" name="Rectangle 369">
                <a:extLst>
                  <a:ext uri="{FF2B5EF4-FFF2-40B4-BE49-F238E27FC236}">
                    <a16:creationId xmlns:a16="http://schemas.microsoft.com/office/drawing/2014/main" id="{FE1DA0B9-C942-4187-9FB9-3A9F40D51F81}"/>
                  </a:ext>
                </a:extLst>
              </p:cNvPr>
              <p:cNvSpPr/>
              <p:nvPr/>
            </p:nvSpPr>
            <p:spPr bwMode="auto">
              <a:xfrm>
                <a:off x="1509876" y="2468727"/>
                <a:ext cx="4034028" cy="236844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1" name="Rectangle 370">
                <a:extLst>
                  <a:ext uri="{FF2B5EF4-FFF2-40B4-BE49-F238E27FC236}">
                    <a16:creationId xmlns:a16="http://schemas.microsoft.com/office/drawing/2014/main" id="{DD4FA065-8161-41BD-95D2-DD24DD6CA387}"/>
                  </a:ext>
                </a:extLst>
              </p:cNvPr>
              <p:cNvSpPr/>
              <p:nvPr/>
            </p:nvSpPr>
            <p:spPr bwMode="auto">
              <a:xfrm>
                <a:off x="1509318" y="2460290"/>
                <a:ext cx="4034586" cy="237251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72" name="Group 371">
                <a:extLst>
                  <a:ext uri="{FF2B5EF4-FFF2-40B4-BE49-F238E27FC236}">
                    <a16:creationId xmlns:a16="http://schemas.microsoft.com/office/drawing/2014/main" id="{5350E9B7-DC2B-4C5E-8104-36A5FEC0040E}"/>
                  </a:ext>
                </a:extLst>
              </p:cNvPr>
              <p:cNvGrpSpPr/>
              <p:nvPr/>
            </p:nvGrpSpPr>
            <p:grpSpPr>
              <a:xfrm>
                <a:off x="1509317" y="2491994"/>
                <a:ext cx="4041747" cy="2322081"/>
                <a:chOff x="1189038" y="2191873"/>
                <a:chExt cx="4569788" cy="2625454"/>
              </a:xfrm>
            </p:grpSpPr>
            <p:sp>
              <p:nvSpPr>
                <p:cNvPr id="376" name="Freeform: Shape 375">
                  <a:extLst>
                    <a:ext uri="{FF2B5EF4-FFF2-40B4-BE49-F238E27FC236}">
                      <a16:creationId xmlns:a16="http://schemas.microsoft.com/office/drawing/2014/main" id="{A16DDAFD-BA7C-4E94-835F-BBCB1BE42D8F}"/>
                    </a:ext>
                  </a:extLst>
                </p:cNvPr>
                <p:cNvSpPr/>
                <p:nvPr/>
              </p:nvSpPr>
              <p:spPr bwMode="auto">
                <a:xfrm>
                  <a:off x="3946080" y="4677904"/>
                  <a:ext cx="1811086" cy="104597"/>
                </a:xfrm>
                <a:custGeom>
                  <a:avLst/>
                  <a:gdLst>
                    <a:gd name="connsiteX0" fmla="*/ 0 w 1668780"/>
                    <a:gd name="connsiteY0" fmla="*/ 0 h 91440"/>
                    <a:gd name="connsiteX1" fmla="*/ 91440 w 1668780"/>
                    <a:gd name="connsiteY1" fmla="*/ 91440 h 91440"/>
                    <a:gd name="connsiteX2" fmla="*/ 891540 w 1668780"/>
                    <a:gd name="connsiteY2" fmla="*/ 91440 h 91440"/>
                    <a:gd name="connsiteX3" fmla="*/ 967740 w 1668780"/>
                    <a:gd name="connsiteY3" fmla="*/ 15240 h 91440"/>
                    <a:gd name="connsiteX4" fmla="*/ 1668780 w 1668780"/>
                    <a:gd name="connsiteY4" fmla="*/ 15240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780" h="91440">
                      <a:moveTo>
                        <a:pt x="0" y="0"/>
                      </a:moveTo>
                      <a:lnTo>
                        <a:pt x="91440" y="91440"/>
                      </a:lnTo>
                      <a:lnTo>
                        <a:pt x="891540" y="91440"/>
                      </a:lnTo>
                      <a:lnTo>
                        <a:pt x="967740" y="15240"/>
                      </a:lnTo>
                      <a:lnTo>
                        <a:pt x="1668780" y="152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7" name="Oval 376">
                  <a:extLst>
                    <a:ext uri="{FF2B5EF4-FFF2-40B4-BE49-F238E27FC236}">
                      <a16:creationId xmlns:a16="http://schemas.microsoft.com/office/drawing/2014/main" id="{F72DAC5C-F754-4644-8409-D098E97E7126}"/>
                    </a:ext>
                  </a:extLst>
                </p:cNvPr>
                <p:cNvSpPr/>
                <p:nvPr/>
              </p:nvSpPr>
              <p:spPr bwMode="auto">
                <a:xfrm>
                  <a:off x="4805181" y="4751230"/>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378" name="Group 377">
                  <a:extLst>
                    <a:ext uri="{FF2B5EF4-FFF2-40B4-BE49-F238E27FC236}">
                      <a16:creationId xmlns:a16="http://schemas.microsoft.com/office/drawing/2014/main" id="{4966CAA8-B89C-415B-9546-5EC54337F3B4}"/>
                    </a:ext>
                  </a:extLst>
                </p:cNvPr>
                <p:cNvGrpSpPr/>
                <p:nvPr/>
              </p:nvGrpSpPr>
              <p:grpSpPr>
                <a:xfrm>
                  <a:off x="2208541" y="2228545"/>
                  <a:ext cx="2537433" cy="2537433"/>
                  <a:chOff x="2137447" y="2379299"/>
                  <a:chExt cx="2602873" cy="2602873"/>
                </a:xfrm>
              </p:grpSpPr>
              <p:sp>
                <p:nvSpPr>
                  <p:cNvPr id="467" name="Oval 466">
                    <a:extLst>
                      <a:ext uri="{FF2B5EF4-FFF2-40B4-BE49-F238E27FC236}">
                        <a16:creationId xmlns:a16="http://schemas.microsoft.com/office/drawing/2014/main" id="{0A29405D-9554-4DAF-9C85-6411349732A1}"/>
                      </a:ext>
                    </a:extLst>
                  </p:cNvPr>
                  <p:cNvSpPr/>
                  <p:nvPr/>
                </p:nvSpPr>
                <p:spPr bwMode="auto">
                  <a:xfrm>
                    <a:off x="2137447" y="2379299"/>
                    <a:ext cx="2602873" cy="26028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68" name="Picture 467">
                    <a:extLst>
                      <a:ext uri="{FF2B5EF4-FFF2-40B4-BE49-F238E27FC236}">
                        <a16:creationId xmlns:a16="http://schemas.microsoft.com/office/drawing/2014/main" id="{3DBFF203-E990-4D9F-A146-24B5C7471F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7054" y="3426219"/>
                    <a:ext cx="326987" cy="324472"/>
                  </a:xfrm>
                  <a:prstGeom prst="rect">
                    <a:avLst/>
                  </a:prstGeom>
                </p:spPr>
              </p:pic>
              <p:pic>
                <p:nvPicPr>
                  <p:cNvPr id="469" name="Picture 468">
                    <a:extLst>
                      <a:ext uri="{FF2B5EF4-FFF2-40B4-BE49-F238E27FC236}">
                        <a16:creationId xmlns:a16="http://schemas.microsoft.com/office/drawing/2014/main" id="{5BC515D9-A146-4B46-83E5-6A15D9C4F9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04403" y="3619827"/>
                    <a:ext cx="561084" cy="548888"/>
                  </a:xfrm>
                  <a:prstGeom prst="rect">
                    <a:avLst/>
                  </a:prstGeom>
                </p:spPr>
              </p:pic>
              <p:pic>
                <p:nvPicPr>
                  <p:cNvPr id="470" name="Picture 469">
                    <a:extLst>
                      <a:ext uri="{FF2B5EF4-FFF2-40B4-BE49-F238E27FC236}">
                        <a16:creationId xmlns:a16="http://schemas.microsoft.com/office/drawing/2014/main" id="{D27289AD-9647-4F83-8974-46951D0264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24818" y="2506958"/>
                    <a:ext cx="422689" cy="415872"/>
                  </a:xfrm>
                  <a:prstGeom prst="rect">
                    <a:avLst/>
                  </a:prstGeom>
                </p:spPr>
              </p:pic>
              <p:pic>
                <p:nvPicPr>
                  <p:cNvPr id="471" name="Picture 470">
                    <a:extLst>
                      <a:ext uri="{FF2B5EF4-FFF2-40B4-BE49-F238E27FC236}">
                        <a16:creationId xmlns:a16="http://schemas.microsoft.com/office/drawing/2014/main" id="{79E841A2-8447-47C7-A56C-BCAA55BED49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69031" y="3529599"/>
                    <a:ext cx="387880" cy="367345"/>
                  </a:xfrm>
                  <a:prstGeom prst="rect">
                    <a:avLst/>
                  </a:prstGeom>
                </p:spPr>
              </p:pic>
              <p:pic>
                <p:nvPicPr>
                  <p:cNvPr id="472" name="Picture 471">
                    <a:extLst>
                      <a:ext uri="{FF2B5EF4-FFF2-40B4-BE49-F238E27FC236}">
                        <a16:creationId xmlns:a16="http://schemas.microsoft.com/office/drawing/2014/main" id="{D0CC890F-CBAD-42D1-970E-17AB0B78CE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99576" y="3058805"/>
                    <a:ext cx="427761" cy="425010"/>
                  </a:xfrm>
                  <a:prstGeom prst="rect">
                    <a:avLst/>
                  </a:prstGeom>
                </p:spPr>
              </p:pic>
              <p:pic>
                <p:nvPicPr>
                  <p:cNvPr id="473" name="Picture 472">
                    <a:extLst>
                      <a:ext uri="{FF2B5EF4-FFF2-40B4-BE49-F238E27FC236}">
                        <a16:creationId xmlns:a16="http://schemas.microsoft.com/office/drawing/2014/main" id="{C2D9CBB2-147B-4394-BA69-E8A922321C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96693" y="4451714"/>
                    <a:ext cx="447970" cy="413313"/>
                  </a:xfrm>
                  <a:prstGeom prst="rect">
                    <a:avLst/>
                  </a:prstGeom>
                </p:spPr>
              </p:pic>
              <p:pic>
                <p:nvPicPr>
                  <p:cNvPr id="474" name="Picture 473">
                    <a:extLst>
                      <a:ext uri="{FF2B5EF4-FFF2-40B4-BE49-F238E27FC236}">
                        <a16:creationId xmlns:a16="http://schemas.microsoft.com/office/drawing/2014/main" id="{FB9DF5D8-7942-4914-A67D-B0037F2D2B3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03025" y="3225559"/>
                    <a:ext cx="236538" cy="236538"/>
                  </a:xfrm>
                  <a:prstGeom prst="rect">
                    <a:avLst/>
                  </a:prstGeom>
                </p:spPr>
              </p:pic>
              <p:pic>
                <p:nvPicPr>
                  <p:cNvPr id="475" name="Picture 474">
                    <a:extLst>
                      <a:ext uri="{FF2B5EF4-FFF2-40B4-BE49-F238E27FC236}">
                        <a16:creationId xmlns:a16="http://schemas.microsoft.com/office/drawing/2014/main" id="{D1393315-A8CA-4E5F-9342-0D04CAFB3758}"/>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4255084" y="3081539"/>
                    <a:ext cx="374290" cy="374290"/>
                  </a:xfrm>
                  <a:prstGeom prst="rect">
                    <a:avLst/>
                  </a:prstGeom>
                </p:spPr>
              </p:pic>
              <p:pic>
                <p:nvPicPr>
                  <p:cNvPr id="476" name="Picture 475" descr="tmpb3jdpwfd">
                    <a:extLst>
                      <a:ext uri="{FF2B5EF4-FFF2-40B4-BE49-F238E27FC236}">
                        <a16:creationId xmlns:a16="http://schemas.microsoft.com/office/drawing/2014/main" id="{7FACA9D0-75BC-489D-9BDF-4DFB250C7B5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646981" y="3968722"/>
                    <a:ext cx="844790" cy="593992"/>
                  </a:xfrm>
                  <a:prstGeom prst="rect">
                    <a:avLst/>
                  </a:prstGeom>
                </p:spPr>
              </p:pic>
              <p:pic>
                <p:nvPicPr>
                  <p:cNvPr id="477" name="Picture 4" descr="Image result for mailchimp logo">
                    <a:extLst>
                      <a:ext uri="{FF2B5EF4-FFF2-40B4-BE49-F238E27FC236}">
                        <a16:creationId xmlns:a16="http://schemas.microsoft.com/office/drawing/2014/main" id="{567A5491-C2A8-4A5D-B4D8-DC2133CFC0E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33506" y="2816327"/>
                    <a:ext cx="264318" cy="277091"/>
                  </a:xfrm>
                  <a:prstGeom prst="rect">
                    <a:avLst/>
                  </a:prstGeom>
                  <a:extLst>
                    <a:ext uri="{909E8E84-426E-40DD-AFC4-6F175D3DCCD1}">
                      <a14:hiddenFill xmlns:a14="http://schemas.microsoft.com/office/drawing/2010/main">
                        <a:solidFill>
                          <a:srgbClr val="FFFFFF"/>
                        </a:solidFill>
                      </a14:hiddenFill>
                    </a:ext>
                  </a:extLst>
                </p:spPr>
              </p:pic>
              <p:pic>
                <p:nvPicPr>
                  <p:cNvPr id="478" name="Picture 10" descr="Related image">
                    <a:extLst>
                      <a:ext uri="{FF2B5EF4-FFF2-40B4-BE49-F238E27FC236}">
                        <a16:creationId xmlns:a16="http://schemas.microsoft.com/office/drawing/2014/main" id="{F7BEF7C3-7D6F-4FB0-B4E9-3607020034B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64407" y="3422368"/>
                    <a:ext cx="469927" cy="469927"/>
                  </a:xfrm>
                  <a:prstGeom prst="rect">
                    <a:avLst/>
                  </a:prstGeom>
                  <a:noFill/>
                  <a:extLst>
                    <a:ext uri="{909E8E84-426E-40DD-AFC4-6F175D3DCCD1}">
                      <a14:hiddenFill xmlns:a14="http://schemas.microsoft.com/office/drawing/2010/main">
                        <a:solidFill>
                          <a:srgbClr val="FFFFFF"/>
                        </a:solidFill>
                      </a14:hiddenFill>
                    </a:ext>
                  </a:extLst>
                </p:spPr>
              </p:pic>
              <p:pic>
                <p:nvPicPr>
                  <p:cNvPr id="479" name="Picture 478" descr="tmp1jb5nrdx">
                    <a:extLst>
                      <a:ext uri="{FF2B5EF4-FFF2-40B4-BE49-F238E27FC236}">
                        <a16:creationId xmlns:a16="http://schemas.microsoft.com/office/drawing/2014/main" id="{07A19A3A-7EEA-4049-A985-9A48B674D4DB}"/>
                      </a:ext>
                    </a:extLst>
                  </p:cNvPr>
                  <p:cNvPicPr>
                    <a:picLocks noChangeAspect="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3195026" y="3822514"/>
                    <a:ext cx="467262" cy="433995"/>
                  </a:xfrm>
                  <a:prstGeom prst="rect">
                    <a:avLst/>
                  </a:prstGeom>
                </p:spPr>
              </p:pic>
              <p:pic>
                <p:nvPicPr>
                  <p:cNvPr id="480" name="Picture 479">
                    <a:extLst>
                      <a:ext uri="{FF2B5EF4-FFF2-40B4-BE49-F238E27FC236}">
                        <a16:creationId xmlns:a16="http://schemas.microsoft.com/office/drawing/2014/main" id="{A1B13E41-1899-448B-AD1F-3F5FF7D7571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14460" y="2568653"/>
                    <a:ext cx="549398" cy="456366"/>
                  </a:xfrm>
                  <a:prstGeom prst="rect">
                    <a:avLst/>
                  </a:prstGeom>
                </p:spPr>
              </p:pic>
            </p:grpSp>
            <p:sp>
              <p:nvSpPr>
                <p:cNvPr id="379" name="Oval 378">
                  <a:extLst>
                    <a:ext uri="{FF2B5EF4-FFF2-40B4-BE49-F238E27FC236}">
                      <a16:creationId xmlns:a16="http://schemas.microsoft.com/office/drawing/2014/main" id="{76986560-CCD4-43B6-9898-DC6DDF227D35}"/>
                    </a:ext>
                  </a:extLst>
                </p:cNvPr>
                <p:cNvSpPr/>
                <p:nvPr/>
              </p:nvSpPr>
              <p:spPr bwMode="auto">
                <a:xfrm>
                  <a:off x="2276779" y="4688814"/>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0" name="Oval 379">
                  <a:extLst>
                    <a:ext uri="{FF2B5EF4-FFF2-40B4-BE49-F238E27FC236}">
                      <a16:creationId xmlns:a16="http://schemas.microsoft.com/office/drawing/2014/main" id="{6F1FC87F-EA29-4735-8E53-CBD72EC32C64}"/>
                    </a:ext>
                  </a:extLst>
                </p:cNvPr>
                <p:cNvSpPr/>
                <p:nvPr/>
              </p:nvSpPr>
              <p:spPr bwMode="auto">
                <a:xfrm>
                  <a:off x="3141434" y="4693933"/>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381" name="Group 380">
                  <a:extLst>
                    <a:ext uri="{FF2B5EF4-FFF2-40B4-BE49-F238E27FC236}">
                      <a16:creationId xmlns:a16="http://schemas.microsoft.com/office/drawing/2014/main" id="{A16CE9A1-6D56-4E54-9202-D9E6799934B9}"/>
                    </a:ext>
                  </a:extLst>
                </p:cNvPr>
                <p:cNvGrpSpPr/>
                <p:nvPr/>
              </p:nvGrpSpPr>
              <p:grpSpPr>
                <a:xfrm>
                  <a:off x="1189038" y="2191873"/>
                  <a:ext cx="4569788" cy="2535109"/>
                  <a:chOff x="1279541" y="2341680"/>
                  <a:chExt cx="4687643" cy="2600489"/>
                </a:xfrm>
              </p:grpSpPr>
              <p:sp>
                <p:nvSpPr>
                  <p:cNvPr id="382" name="Freeform: Shape 381">
                    <a:extLst>
                      <a:ext uri="{FF2B5EF4-FFF2-40B4-BE49-F238E27FC236}">
                        <a16:creationId xmlns:a16="http://schemas.microsoft.com/office/drawing/2014/main" id="{C0B46F90-8BB6-4E4B-B1AE-6793A58E30B3}"/>
                      </a:ext>
                    </a:extLst>
                  </p:cNvPr>
                  <p:cNvSpPr/>
                  <p:nvPr/>
                </p:nvSpPr>
                <p:spPr bwMode="auto">
                  <a:xfrm>
                    <a:off x="1280962" y="2529817"/>
                    <a:ext cx="1517522" cy="128821"/>
                  </a:xfrm>
                  <a:custGeom>
                    <a:avLst/>
                    <a:gdLst>
                      <a:gd name="connsiteX0" fmla="*/ 0 w 1130300"/>
                      <a:gd name="connsiteY0" fmla="*/ 0 h 120650"/>
                      <a:gd name="connsiteX1" fmla="*/ 920750 w 1130300"/>
                      <a:gd name="connsiteY1" fmla="*/ 0 h 120650"/>
                      <a:gd name="connsiteX2" fmla="*/ 1041400 w 1130300"/>
                      <a:gd name="connsiteY2" fmla="*/ 120650 h 120650"/>
                      <a:gd name="connsiteX3" fmla="*/ 1130300 w 1130300"/>
                      <a:gd name="connsiteY3" fmla="*/ 120650 h 120650"/>
                    </a:gdLst>
                    <a:ahLst/>
                    <a:cxnLst>
                      <a:cxn ang="0">
                        <a:pos x="connsiteX0" y="connsiteY0"/>
                      </a:cxn>
                      <a:cxn ang="0">
                        <a:pos x="connsiteX1" y="connsiteY1"/>
                      </a:cxn>
                      <a:cxn ang="0">
                        <a:pos x="connsiteX2" y="connsiteY2"/>
                      </a:cxn>
                      <a:cxn ang="0">
                        <a:pos x="connsiteX3" y="connsiteY3"/>
                      </a:cxn>
                    </a:cxnLst>
                    <a:rect l="l" t="t" r="r" b="b"/>
                    <a:pathLst>
                      <a:path w="1130300" h="120650">
                        <a:moveTo>
                          <a:pt x="0" y="0"/>
                        </a:moveTo>
                        <a:lnTo>
                          <a:pt x="920750" y="0"/>
                        </a:lnTo>
                        <a:lnTo>
                          <a:pt x="1041400" y="120650"/>
                        </a:lnTo>
                        <a:lnTo>
                          <a:pt x="1130300" y="1206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87D3BBDB-BE72-4E4B-BBFF-D90C8BAC0881}"/>
                      </a:ext>
                    </a:extLst>
                  </p:cNvPr>
                  <p:cNvSpPr/>
                  <p:nvPr/>
                </p:nvSpPr>
                <p:spPr bwMode="auto">
                  <a:xfrm flipV="1">
                    <a:off x="1288065" y="4172290"/>
                    <a:ext cx="1155359" cy="121195"/>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4" name="Freeform: Shape 383">
                    <a:extLst>
                      <a:ext uri="{FF2B5EF4-FFF2-40B4-BE49-F238E27FC236}">
                        <a16:creationId xmlns:a16="http://schemas.microsoft.com/office/drawing/2014/main" id="{E7F31751-7AD3-41FB-90FC-84699B1A42AB}"/>
                      </a:ext>
                    </a:extLst>
                  </p:cNvPr>
                  <p:cNvSpPr/>
                  <p:nvPr/>
                </p:nvSpPr>
                <p:spPr bwMode="auto">
                  <a:xfrm>
                    <a:off x="1288065" y="2882573"/>
                    <a:ext cx="1202850" cy="101701"/>
                  </a:xfrm>
                  <a:custGeom>
                    <a:avLst/>
                    <a:gdLst>
                      <a:gd name="connsiteX0" fmla="*/ 0 w 914400"/>
                      <a:gd name="connsiteY0" fmla="*/ 0 h 95250"/>
                      <a:gd name="connsiteX1" fmla="*/ 819150 w 914400"/>
                      <a:gd name="connsiteY1" fmla="*/ 0 h 95250"/>
                      <a:gd name="connsiteX2" fmla="*/ 914400 w 914400"/>
                      <a:gd name="connsiteY2" fmla="*/ 95250 h 95250"/>
                    </a:gdLst>
                    <a:ahLst/>
                    <a:cxnLst>
                      <a:cxn ang="0">
                        <a:pos x="connsiteX0" y="connsiteY0"/>
                      </a:cxn>
                      <a:cxn ang="0">
                        <a:pos x="connsiteX1" y="connsiteY1"/>
                      </a:cxn>
                      <a:cxn ang="0">
                        <a:pos x="connsiteX2" y="connsiteY2"/>
                      </a:cxn>
                    </a:cxnLst>
                    <a:rect l="l" t="t" r="r" b="b"/>
                    <a:pathLst>
                      <a:path w="914400" h="95250">
                        <a:moveTo>
                          <a:pt x="0" y="0"/>
                        </a:moveTo>
                        <a:lnTo>
                          <a:pt x="819150" y="0"/>
                        </a:lnTo>
                        <a:lnTo>
                          <a:pt x="914400" y="952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FAB63E44-15DB-43AF-9C9C-0C104A688C38}"/>
                      </a:ext>
                    </a:extLst>
                  </p:cNvPr>
                  <p:cNvSpPr/>
                  <p:nvPr/>
                </p:nvSpPr>
                <p:spPr bwMode="auto">
                  <a:xfrm>
                    <a:off x="1280959" y="3110363"/>
                    <a:ext cx="1107215" cy="132212"/>
                  </a:xfrm>
                  <a:custGeom>
                    <a:avLst/>
                    <a:gdLst>
                      <a:gd name="connsiteX0" fmla="*/ 0 w 952500"/>
                      <a:gd name="connsiteY0" fmla="*/ 0 h 123825"/>
                      <a:gd name="connsiteX1" fmla="*/ 333375 w 952500"/>
                      <a:gd name="connsiteY1" fmla="*/ 0 h 123825"/>
                      <a:gd name="connsiteX2" fmla="*/ 457200 w 952500"/>
                      <a:gd name="connsiteY2" fmla="*/ 123825 h 123825"/>
                      <a:gd name="connsiteX3" fmla="*/ 952500 w 952500"/>
                      <a:gd name="connsiteY3" fmla="*/ 123825 h 123825"/>
                    </a:gdLst>
                    <a:ahLst/>
                    <a:cxnLst>
                      <a:cxn ang="0">
                        <a:pos x="connsiteX0" y="connsiteY0"/>
                      </a:cxn>
                      <a:cxn ang="0">
                        <a:pos x="connsiteX1" y="connsiteY1"/>
                      </a:cxn>
                      <a:cxn ang="0">
                        <a:pos x="connsiteX2" y="connsiteY2"/>
                      </a:cxn>
                      <a:cxn ang="0">
                        <a:pos x="connsiteX3" y="connsiteY3"/>
                      </a:cxn>
                    </a:cxnLst>
                    <a:rect l="l" t="t" r="r" b="b"/>
                    <a:pathLst>
                      <a:path w="952500" h="123825">
                        <a:moveTo>
                          <a:pt x="0" y="0"/>
                        </a:moveTo>
                        <a:lnTo>
                          <a:pt x="333375" y="0"/>
                        </a:lnTo>
                        <a:lnTo>
                          <a:pt x="457200" y="123825"/>
                        </a:lnTo>
                        <a:lnTo>
                          <a:pt x="952500" y="12382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52FE52A1-45EE-4B32-BCCE-5065C7734ABF}"/>
                      </a:ext>
                    </a:extLst>
                  </p:cNvPr>
                  <p:cNvSpPr/>
                  <p:nvPr/>
                </p:nvSpPr>
                <p:spPr bwMode="auto">
                  <a:xfrm flipV="1">
                    <a:off x="1753357" y="2974209"/>
                    <a:ext cx="737558" cy="50690"/>
                  </a:xfrm>
                  <a:custGeom>
                    <a:avLst/>
                    <a:gdLst>
                      <a:gd name="connsiteX0" fmla="*/ 0 w 571500"/>
                      <a:gd name="connsiteY0" fmla="*/ 0 h 0"/>
                      <a:gd name="connsiteX1" fmla="*/ 571500 w 571500"/>
                      <a:gd name="connsiteY1" fmla="*/ 0 h 0"/>
                    </a:gdLst>
                    <a:ahLst/>
                    <a:cxnLst>
                      <a:cxn ang="0">
                        <a:pos x="connsiteX0" y="connsiteY0"/>
                      </a:cxn>
                      <a:cxn ang="0">
                        <a:pos x="connsiteX1" y="connsiteY1"/>
                      </a:cxn>
                    </a:cxnLst>
                    <a:rect l="l" t="t" r="r" b="b"/>
                    <a:pathLst>
                      <a:path w="571500">
                        <a:moveTo>
                          <a:pt x="0" y="0"/>
                        </a:moveTo>
                        <a:lnTo>
                          <a:pt x="5715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6178E59A-F030-45D9-9102-5DDF1DFDC3F4}"/>
                      </a:ext>
                    </a:extLst>
                  </p:cNvPr>
                  <p:cNvSpPr/>
                  <p:nvPr/>
                </p:nvSpPr>
                <p:spPr bwMode="auto">
                  <a:xfrm>
                    <a:off x="1288066" y="2380656"/>
                    <a:ext cx="1804333" cy="108481"/>
                  </a:xfrm>
                  <a:custGeom>
                    <a:avLst/>
                    <a:gdLst>
                      <a:gd name="connsiteX0" fmla="*/ 0 w 1612900"/>
                      <a:gd name="connsiteY0" fmla="*/ 0 h 101600"/>
                      <a:gd name="connsiteX1" fmla="*/ 1289050 w 1612900"/>
                      <a:gd name="connsiteY1" fmla="*/ 0 h 101600"/>
                      <a:gd name="connsiteX2" fmla="*/ 1612900 w 1612900"/>
                      <a:gd name="connsiteY2" fmla="*/ 101600 h 101600"/>
                    </a:gdLst>
                    <a:ahLst/>
                    <a:cxnLst>
                      <a:cxn ang="0">
                        <a:pos x="connsiteX0" y="connsiteY0"/>
                      </a:cxn>
                      <a:cxn ang="0">
                        <a:pos x="connsiteX1" y="connsiteY1"/>
                      </a:cxn>
                      <a:cxn ang="0">
                        <a:pos x="connsiteX2" y="connsiteY2"/>
                      </a:cxn>
                    </a:cxnLst>
                    <a:rect l="l" t="t" r="r" b="b"/>
                    <a:pathLst>
                      <a:path w="1612900" h="101600">
                        <a:moveTo>
                          <a:pt x="0" y="0"/>
                        </a:moveTo>
                        <a:lnTo>
                          <a:pt x="1289050" y="0"/>
                        </a:lnTo>
                        <a:lnTo>
                          <a:pt x="1612900" y="1016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2DBDF82D-1F87-4381-B0CD-A2A7DC928F3D}"/>
                      </a:ext>
                    </a:extLst>
                  </p:cNvPr>
                  <p:cNvSpPr/>
                  <p:nvPr/>
                </p:nvSpPr>
                <p:spPr bwMode="auto">
                  <a:xfrm>
                    <a:off x="1295170" y="4701137"/>
                    <a:ext cx="1647163" cy="101701"/>
                  </a:xfrm>
                  <a:custGeom>
                    <a:avLst/>
                    <a:gdLst>
                      <a:gd name="connsiteX0" fmla="*/ 1460500 w 1460500"/>
                      <a:gd name="connsiteY0" fmla="*/ 95250 h 95250"/>
                      <a:gd name="connsiteX1" fmla="*/ 1212850 w 1460500"/>
                      <a:gd name="connsiteY1" fmla="*/ 0 h 95250"/>
                      <a:gd name="connsiteX2" fmla="*/ 0 w 1460500"/>
                      <a:gd name="connsiteY2" fmla="*/ 0 h 95250"/>
                    </a:gdLst>
                    <a:ahLst/>
                    <a:cxnLst>
                      <a:cxn ang="0">
                        <a:pos x="connsiteX0" y="connsiteY0"/>
                      </a:cxn>
                      <a:cxn ang="0">
                        <a:pos x="connsiteX1" y="connsiteY1"/>
                      </a:cxn>
                      <a:cxn ang="0">
                        <a:pos x="connsiteX2" y="connsiteY2"/>
                      </a:cxn>
                    </a:cxnLst>
                    <a:rect l="l" t="t" r="r" b="b"/>
                    <a:pathLst>
                      <a:path w="1460500" h="95250">
                        <a:moveTo>
                          <a:pt x="1460500" y="95250"/>
                        </a:moveTo>
                        <a:lnTo>
                          <a:pt x="121285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25D6F06A-458C-4411-9054-A7E6C51AA3EE}"/>
                      </a:ext>
                    </a:extLst>
                  </p:cNvPr>
                  <p:cNvSpPr/>
                  <p:nvPr/>
                </p:nvSpPr>
                <p:spPr bwMode="auto">
                  <a:xfrm>
                    <a:off x="1280963" y="3397649"/>
                    <a:ext cx="412013" cy="0"/>
                  </a:xfrm>
                  <a:custGeom>
                    <a:avLst/>
                    <a:gdLst>
                      <a:gd name="connsiteX0" fmla="*/ 0 w 368300"/>
                      <a:gd name="connsiteY0" fmla="*/ 0 h 0"/>
                      <a:gd name="connsiteX1" fmla="*/ 368300 w 368300"/>
                      <a:gd name="connsiteY1" fmla="*/ 0 h 0"/>
                    </a:gdLst>
                    <a:ahLst/>
                    <a:cxnLst>
                      <a:cxn ang="0">
                        <a:pos x="connsiteX0" y="connsiteY0"/>
                      </a:cxn>
                      <a:cxn ang="0">
                        <a:pos x="connsiteX1" y="connsiteY1"/>
                      </a:cxn>
                    </a:cxnLst>
                    <a:rect l="l" t="t" r="r" b="b"/>
                    <a:pathLst>
                      <a:path w="368300">
                        <a:moveTo>
                          <a:pt x="0" y="0"/>
                        </a:moveTo>
                        <a:lnTo>
                          <a:pt x="3683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0" name="Freeform: Shape 389">
                    <a:extLst>
                      <a:ext uri="{FF2B5EF4-FFF2-40B4-BE49-F238E27FC236}">
                        <a16:creationId xmlns:a16="http://schemas.microsoft.com/office/drawing/2014/main" id="{366B548E-3370-4561-B55E-6C81343293AA}"/>
                      </a:ext>
                    </a:extLst>
                  </p:cNvPr>
                  <p:cNvSpPr/>
                  <p:nvPr/>
                </p:nvSpPr>
                <p:spPr bwMode="auto">
                  <a:xfrm>
                    <a:off x="1283265" y="3549054"/>
                    <a:ext cx="1024492" cy="49284"/>
                  </a:xfrm>
                  <a:custGeom>
                    <a:avLst/>
                    <a:gdLst>
                      <a:gd name="connsiteX0" fmla="*/ 0 w 882650"/>
                      <a:gd name="connsiteY0" fmla="*/ 0 h 0"/>
                      <a:gd name="connsiteX1" fmla="*/ 882650 w 882650"/>
                      <a:gd name="connsiteY1" fmla="*/ 0 h 0"/>
                    </a:gdLst>
                    <a:ahLst/>
                    <a:cxnLst>
                      <a:cxn ang="0">
                        <a:pos x="connsiteX0" y="connsiteY0"/>
                      </a:cxn>
                      <a:cxn ang="0">
                        <a:pos x="connsiteX1" y="connsiteY1"/>
                      </a:cxn>
                    </a:cxnLst>
                    <a:rect l="l" t="t" r="r" b="b"/>
                    <a:pathLst>
                      <a:path w="882650">
                        <a:moveTo>
                          <a:pt x="0" y="0"/>
                        </a:moveTo>
                        <a:lnTo>
                          <a:pt x="882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F8AE0622-1501-4BE9-98D2-D15217CAB312}"/>
                      </a:ext>
                    </a:extLst>
                  </p:cNvPr>
                  <p:cNvSpPr/>
                  <p:nvPr/>
                </p:nvSpPr>
                <p:spPr bwMode="auto">
                  <a:xfrm>
                    <a:off x="1295170" y="3946854"/>
                    <a:ext cx="1088945" cy="142382"/>
                  </a:xfrm>
                  <a:custGeom>
                    <a:avLst/>
                    <a:gdLst>
                      <a:gd name="connsiteX0" fmla="*/ 0 w 933450"/>
                      <a:gd name="connsiteY0" fmla="*/ 0 h 133350"/>
                      <a:gd name="connsiteX1" fmla="*/ 654050 w 933450"/>
                      <a:gd name="connsiteY1" fmla="*/ 0 h 133350"/>
                      <a:gd name="connsiteX2" fmla="*/ 787400 w 933450"/>
                      <a:gd name="connsiteY2" fmla="*/ 133350 h 133350"/>
                      <a:gd name="connsiteX3" fmla="*/ 933450 w 9334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933450" h="133350">
                        <a:moveTo>
                          <a:pt x="0" y="0"/>
                        </a:moveTo>
                        <a:lnTo>
                          <a:pt x="654050" y="0"/>
                        </a:lnTo>
                        <a:lnTo>
                          <a:pt x="787400" y="133350"/>
                        </a:lnTo>
                        <a:lnTo>
                          <a:pt x="933450" y="1333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9442B86A-1A61-426A-A680-9DB821D66797}"/>
                      </a:ext>
                    </a:extLst>
                  </p:cNvPr>
                  <p:cNvSpPr/>
                  <p:nvPr/>
                </p:nvSpPr>
                <p:spPr bwMode="auto">
                  <a:xfrm>
                    <a:off x="1279541" y="4421459"/>
                    <a:ext cx="1276123" cy="97633"/>
                  </a:xfrm>
                  <a:custGeom>
                    <a:avLst/>
                    <a:gdLst>
                      <a:gd name="connsiteX0" fmla="*/ 1097280 w 1097280"/>
                      <a:gd name="connsiteY0" fmla="*/ 0 h 91440"/>
                      <a:gd name="connsiteX1" fmla="*/ 1051560 w 1097280"/>
                      <a:gd name="connsiteY1" fmla="*/ 91440 h 91440"/>
                      <a:gd name="connsiteX2" fmla="*/ 0 w 1097280"/>
                      <a:gd name="connsiteY2" fmla="*/ 91440 h 91440"/>
                    </a:gdLst>
                    <a:ahLst/>
                    <a:cxnLst>
                      <a:cxn ang="0">
                        <a:pos x="connsiteX0" y="connsiteY0"/>
                      </a:cxn>
                      <a:cxn ang="0">
                        <a:pos x="connsiteX1" y="connsiteY1"/>
                      </a:cxn>
                      <a:cxn ang="0">
                        <a:pos x="connsiteX2" y="connsiteY2"/>
                      </a:cxn>
                    </a:cxnLst>
                    <a:rect l="l" t="t" r="r" b="b"/>
                    <a:pathLst>
                      <a:path w="1097280" h="91440">
                        <a:moveTo>
                          <a:pt x="1097280" y="0"/>
                        </a:moveTo>
                        <a:lnTo>
                          <a:pt x="1051560" y="91440"/>
                        </a:lnTo>
                        <a:lnTo>
                          <a:pt x="0" y="914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89108859-F7AB-4899-AC1C-27AF83EDDA67}"/>
                      </a:ext>
                    </a:extLst>
                  </p:cNvPr>
                  <p:cNvSpPr/>
                  <p:nvPr/>
                </p:nvSpPr>
                <p:spPr bwMode="auto">
                  <a:xfrm>
                    <a:off x="1288064" y="3705483"/>
                    <a:ext cx="988833" cy="73225"/>
                  </a:xfrm>
                  <a:custGeom>
                    <a:avLst/>
                    <a:gdLst>
                      <a:gd name="connsiteX0" fmla="*/ 0 w 891540"/>
                      <a:gd name="connsiteY0" fmla="*/ 0 h 68580"/>
                      <a:gd name="connsiteX1" fmla="*/ 182880 w 891540"/>
                      <a:gd name="connsiteY1" fmla="*/ 0 h 68580"/>
                      <a:gd name="connsiteX2" fmla="*/ 251460 w 891540"/>
                      <a:gd name="connsiteY2" fmla="*/ 68580 h 68580"/>
                      <a:gd name="connsiteX3" fmla="*/ 891540 w 891540"/>
                      <a:gd name="connsiteY3" fmla="*/ 68580 h 68580"/>
                    </a:gdLst>
                    <a:ahLst/>
                    <a:cxnLst>
                      <a:cxn ang="0">
                        <a:pos x="connsiteX0" y="connsiteY0"/>
                      </a:cxn>
                      <a:cxn ang="0">
                        <a:pos x="connsiteX1" y="connsiteY1"/>
                      </a:cxn>
                      <a:cxn ang="0">
                        <a:pos x="connsiteX2" y="connsiteY2"/>
                      </a:cxn>
                      <a:cxn ang="0">
                        <a:pos x="connsiteX3" y="connsiteY3"/>
                      </a:cxn>
                    </a:cxnLst>
                    <a:rect l="l" t="t" r="r" b="b"/>
                    <a:pathLst>
                      <a:path w="891540" h="68580">
                        <a:moveTo>
                          <a:pt x="0" y="0"/>
                        </a:moveTo>
                        <a:lnTo>
                          <a:pt x="182880" y="0"/>
                        </a:lnTo>
                        <a:lnTo>
                          <a:pt x="251460" y="68580"/>
                        </a:lnTo>
                        <a:lnTo>
                          <a:pt x="891540" y="685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2CD3649D-4B23-483B-AE16-CBB39CB0BE8E}"/>
                      </a:ext>
                    </a:extLst>
                  </p:cNvPr>
                  <p:cNvSpPr/>
                  <p:nvPr/>
                </p:nvSpPr>
                <p:spPr bwMode="auto">
                  <a:xfrm>
                    <a:off x="1279542" y="4828264"/>
                    <a:ext cx="2045857" cy="113905"/>
                  </a:xfrm>
                  <a:custGeom>
                    <a:avLst/>
                    <a:gdLst>
                      <a:gd name="connsiteX0" fmla="*/ 0 w 1828800"/>
                      <a:gd name="connsiteY0" fmla="*/ 68580 h 106680"/>
                      <a:gd name="connsiteX1" fmla="*/ 259080 w 1828800"/>
                      <a:gd name="connsiteY1" fmla="*/ 68580 h 106680"/>
                      <a:gd name="connsiteX2" fmla="*/ 327660 w 1828800"/>
                      <a:gd name="connsiteY2" fmla="*/ 0 h 106680"/>
                      <a:gd name="connsiteX3" fmla="*/ 914400 w 1828800"/>
                      <a:gd name="connsiteY3" fmla="*/ 0 h 106680"/>
                      <a:gd name="connsiteX4" fmla="*/ 1021080 w 1828800"/>
                      <a:gd name="connsiteY4" fmla="*/ 106680 h 106680"/>
                      <a:gd name="connsiteX5" fmla="*/ 1828800 w 1828800"/>
                      <a:gd name="connsiteY5" fmla="*/ 106680 h 10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06680">
                        <a:moveTo>
                          <a:pt x="0" y="68580"/>
                        </a:moveTo>
                        <a:lnTo>
                          <a:pt x="259080" y="68580"/>
                        </a:lnTo>
                        <a:lnTo>
                          <a:pt x="327660" y="0"/>
                        </a:lnTo>
                        <a:lnTo>
                          <a:pt x="914400" y="0"/>
                        </a:lnTo>
                        <a:lnTo>
                          <a:pt x="1021080" y="106680"/>
                        </a:lnTo>
                        <a:lnTo>
                          <a:pt x="1828800" y="1066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9ACE58E1-1950-4828-A572-98D4EC6C8BDC}"/>
                      </a:ext>
                    </a:extLst>
                  </p:cNvPr>
                  <p:cNvSpPr/>
                  <p:nvPr/>
                </p:nvSpPr>
                <p:spPr bwMode="auto">
                  <a:xfrm>
                    <a:off x="1280962" y="2543378"/>
                    <a:ext cx="492841" cy="81361"/>
                  </a:xfrm>
                  <a:custGeom>
                    <a:avLst/>
                    <a:gdLst>
                      <a:gd name="connsiteX0" fmla="*/ 0 w 215900"/>
                      <a:gd name="connsiteY0" fmla="*/ 76200 h 76200"/>
                      <a:gd name="connsiteX1" fmla="*/ 177800 w 215900"/>
                      <a:gd name="connsiteY1" fmla="*/ 76200 h 76200"/>
                      <a:gd name="connsiteX2" fmla="*/ 215900 w 215900"/>
                      <a:gd name="connsiteY2" fmla="*/ 0 h 76200"/>
                    </a:gdLst>
                    <a:ahLst/>
                    <a:cxnLst>
                      <a:cxn ang="0">
                        <a:pos x="connsiteX0" y="connsiteY0"/>
                      </a:cxn>
                      <a:cxn ang="0">
                        <a:pos x="connsiteX1" y="connsiteY1"/>
                      </a:cxn>
                      <a:cxn ang="0">
                        <a:pos x="connsiteX2" y="connsiteY2"/>
                      </a:cxn>
                    </a:cxnLst>
                    <a:rect l="l" t="t" r="r" b="b"/>
                    <a:pathLst>
                      <a:path w="215900" h="76200">
                        <a:moveTo>
                          <a:pt x="0" y="76200"/>
                        </a:moveTo>
                        <a:lnTo>
                          <a:pt x="177800" y="76200"/>
                        </a:lnTo>
                        <a:lnTo>
                          <a:pt x="215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E29D9125-AEF5-4495-9FB0-AD9EC32E473A}"/>
                      </a:ext>
                    </a:extLst>
                  </p:cNvPr>
                  <p:cNvSpPr/>
                  <p:nvPr/>
                </p:nvSpPr>
                <p:spPr bwMode="auto">
                  <a:xfrm>
                    <a:off x="1288065" y="4096015"/>
                    <a:ext cx="561993" cy="162722"/>
                  </a:xfrm>
                  <a:custGeom>
                    <a:avLst/>
                    <a:gdLst>
                      <a:gd name="connsiteX0" fmla="*/ 0 w 444500"/>
                      <a:gd name="connsiteY0" fmla="*/ 0 h 152400"/>
                      <a:gd name="connsiteX1" fmla="*/ 349250 w 444500"/>
                      <a:gd name="connsiteY1" fmla="*/ 0 h 152400"/>
                      <a:gd name="connsiteX2" fmla="*/ 444500 w 444500"/>
                      <a:gd name="connsiteY2" fmla="*/ 152400 h 152400"/>
                    </a:gdLst>
                    <a:ahLst/>
                    <a:cxnLst>
                      <a:cxn ang="0">
                        <a:pos x="connsiteX0" y="connsiteY0"/>
                      </a:cxn>
                      <a:cxn ang="0">
                        <a:pos x="connsiteX1" y="connsiteY1"/>
                      </a:cxn>
                      <a:cxn ang="0">
                        <a:pos x="connsiteX2" y="connsiteY2"/>
                      </a:cxn>
                    </a:cxnLst>
                    <a:rect l="l" t="t" r="r" b="b"/>
                    <a:pathLst>
                      <a:path w="444500" h="152400">
                        <a:moveTo>
                          <a:pt x="0" y="0"/>
                        </a:moveTo>
                        <a:lnTo>
                          <a:pt x="349250" y="0"/>
                        </a:lnTo>
                        <a:lnTo>
                          <a:pt x="444500" y="1524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7" name="Oval 396">
                    <a:extLst>
                      <a:ext uri="{FF2B5EF4-FFF2-40B4-BE49-F238E27FC236}">
                        <a16:creationId xmlns:a16="http://schemas.microsoft.com/office/drawing/2014/main" id="{903BECCC-7574-4B68-AFB7-C06CAAF8F22B}"/>
                      </a:ext>
                    </a:extLst>
                  </p:cNvPr>
                  <p:cNvSpPr/>
                  <p:nvPr/>
                </p:nvSpPr>
                <p:spPr bwMode="auto">
                  <a:xfrm>
                    <a:off x="1741832" y="298912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8" name="Oval 397">
                    <a:extLst>
                      <a:ext uri="{FF2B5EF4-FFF2-40B4-BE49-F238E27FC236}">
                        <a16:creationId xmlns:a16="http://schemas.microsoft.com/office/drawing/2014/main" id="{9B2D8E9A-A14E-4304-8100-86CF957E5652}"/>
                      </a:ext>
                    </a:extLst>
                  </p:cNvPr>
                  <p:cNvSpPr/>
                  <p:nvPr/>
                </p:nvSpPr>
                <p:spPr bwMode="auto">
                  <a:xfrm>
                    <a:off x="1621657" y="307924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9" name="Oval 398">
                    <a:extLst>
                      <a:ext uri="{FF2B5EF4-FFF2-40B4-BE49-F238E27FC236}">
                        <a16:creationId xmlns:a16="http://schemas.microsoft.com/office/drawing/2014/main" id="{5D2F41ED-C26E-4717-946F-982B4F8C7984}"/>
                      </a:ext>
                    </a:extLst>
                  </p:cNvPr>
                  <p:cNvSpPr/>
                  <p:nvPr/>
                </p:nvSpPr>
                <p:spPr bwMode="auto">
                  <a:xfrm>
                    <a:off x="1786583"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0" name="Oval 399">
                    <a:extLst>
                      <a:ext uri="{FF2B5EF4-FFF2-40B4-BE49-F238E27FC236}">
                        <a16:creationId xmlns:a16="http://schemas.microsoft.com/office/drawing/2014/main" id="{794A9BB9-09E6-46DF-901E-0035AFA0A090}"/>
                      </a:ext>
                    </a:extLst>
                  </p:cNvPr>
                  <p:cNvSpPr/>
                  <p:nvPr/>
                </p:nvSpPr>
                <p:spPr bwMode="auto">
                  <a:xfrm>
                    <a:off x="1685999" y="336239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1" name="Oval 400">
                    <a:extLst>
                      <a:ext uri="{FF2B5EF4-FFF2-40B4-BE49-F238E27FC236}">
                        <a16:creationId xmlns:a16="http://schemas.microsoft.com/office/drawing/2014/main" id="{71B51421-E762-4183-8DBB-30AD1DEC352F}"/>
                      </a:ext>
                    </a:extLst>
                  </p:cNvPr>
                  <p:cNvSpPr/>
                  <p:nvPr/>
                </p:nvSpPr>
                <p:spPr bwMode="auto">
                  <a:xfrm>
                    <a:off x="1448620" y="367022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2" name="Oval 401">
                    <a:extLst>
                      <a:ext uri="{FF2B5EF4-FFF2-40B4-BE49-F238E27FC236}">
                        <a16:creationId xmlns:a16="http://schemas.microsoft.com/office/drawing/2014/main" id="{6F7BE787-7994-4111-90F8-8AD35B0EDF05}"/>
                      </a:ext>
                    </a:extLst>
                  </p:cNvPr>
                  <p:cNvSpPr/>
                  <p:nvPr/>
                </p:nvSpPr>
                <p:spPr bwMode="auto">
                  <a:xfrm>
                    <a:off x="2017828" y="392142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3" name="Oval 402">
                    <a:extLst>
                      <a:ext uri="{FF2B5EF4-FFF2-40B4-BE49-F238E27FC236}">
                        <a16:creationId xmlns:a16="http://schemas.microsoft.com/office/drawing/2014/main" id="{A3E12FE0-FE22-40DB-968A-5D29E5409FF3}"/>
                      </a:ext>
                    </a:extLst>
                  </p:cNvPr>
                  <p:cNvSpPr/>
                  <p:nvPr/>
                </p:nvSpPr>
                <p:spPr bwMode="auto">
                  <a:xfrm>
                    <a:off x="1608852" y="391295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4" name="Oval 403">
                    <a:extLst>
                      <a:ext uri="{FF2B5EF4-FFF2-40B4-BE49-F238E27FC236}">
                        <a16:creationId xmlns:a16="http://schemas.microsoft.com/office/drawing/2014/main" id="{D1E31412-949A-41B9-A985-D2C83838AACF}"/>
                      </a:ext>
                    </a:extLst>
                  </p:cNvPr>
                  <p:cNvSpPr/>
                  <p:nvPr/>
                </p:nvSpPr>
                <p:spPr bwMode="auto">
                  <a:xfrm>
                    <a:off x="1735132" y="24891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5" name="Oval 404">
                    <a:extLst>
                      <a:ext uri="{FF2B5EF4-FFF2-40B4-BE49-F238E27FC236}">
                        <a16:creationId xmlns:a16="http://schemas.microsoft.com/office/drawing/2014/main" id="{C045BE15-180C-4121-9DFC-E32F3C2FE979}"/>
                      </a:ext>
                    </a:extLst>
                  </p:cNvPr>
                  <p:cNvSpPr/>
                  <p:nvPr/>
                </p:nvSpPr>
                <p:spPr bwMode="auto">
                  <a:xfrm>
                    <a:off x="1812085"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6" name="Oval 405">
                    <a:extLst>
                      <a:ext uri="{FF2B5EF4-FFF2-40B4-BE49-F238E27FC236}">
                        <a16:creationId xmlns:a16="http://schemas.microsoft.com/office/drawing/2014/main" id="{DD6DA645-02D1-4A2D-A90B-F20E1AD8E920}"/>
                      </a:ext>
                    </a:extLst>
                  </p:cNvPr>
                  <p:cNvSpPr/>
                  <p:nvPr/>
                </p:nvSpPr>
                <p:spPr bwMode="auto">
                  <a:xfrm>
                    <a:off x="1819205" y="4482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7" name="Oval 406">
                    <a:extLst>
                      <a:ext uri="{FF2B5EF4-FFF2-40B4-BE49-F238E27FC236}">
                        <a16:creationId xmlns:a16="http://schemas.microsoft.com/office/drawing/2014/main" id="{495CCA7F-B38A-4C7B-A86D-860C79C25985}"/>
                      </a:ext>
                    </a:extLst>
                  </p:cNvPr>
                  <p:cNvSpPr/>
                  <p:nvPr/>
                </p:nvSpPr>
                <p:spPr bwMode="auto">
                  <a:xfrm>
                    <a:off x="2180920" y="466361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8" name="Oval 407">
                    <a:extLst>
                      <a:ext uri="{FF2B5EF4-FFF2-40B4-BE49-F238E27FC236}">
                        <a16:creationId xmlns:a16="http://schemas.microsoft.com/office/drawing/2014/main" id="{51B4FA8B-0232-424F-96A8-FE7DB82C94E3}"/>
                      </a:ext>
                    </a:extLst>
                  </p:cNvPr>
                  <p:cNvSpPr/>
                  <p:nvPr/>
                </p:nvSpPr>
                <p:spPr bwMode="auto">
                  <a:xfrm>
                    <a:off x="1611002" y="479608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9" name="Freeform: Shape 408">
                    <a:extLst>
                      <a:ext uri="{FF2B5EF4-FFF2-40B4-BE49-F238E27FC236}">
                        <a16:creationId xmlns:a16="http://schemas.microsoft.com/office/drawing/2014/main" id="{E94A6C9D-86F9-4895-B090-295561612485}"/>
                      </a:ext>
                    </a:extLst>
                  </p:cNvPr>
                  <p:cNvSpPr/>
                  <p:nvPr/>
                </p:nvSpPr>
                <p:spPr bwMode="auto">
                  <a:xfrm>
                    <a:off x="4701141" y="2757140"/>
                    <a:ext cx="1265661" cy="189842"/>
                  </a:xfrm>
                  <a:custGeom>
                    <a:avLst/>
                    <a:gdLst>
                      <a:gd name="connsiteX0" fmla="*/ 0 w 1136650"/>
                      <a:gd name="connsiteY0" fmla="*/ 177800 h 177800"/>
                      <a:gd name="connsiteX1" fmla="*/ 673100 w 1136650"/>
                      <a:gd name="connsiteY1" fmla="*/ 177800 h 177800"/>
                      <a:gd name="connsiteX2" fmla="*/ 819150 w 1136650"/>
                      <a:gd name="connsiteY2" fmla="*/ 0 h 177800"/>
                      <a:gd name="connsiteX3" fmla="*/ 1136650 w 1136650"/>
                      <a:gd name="connsiteY3" fmla="*/ 0 h 177800"/>
                    </a:gdLst>
                    <a:ahLst/>
                    <a:cxnLst>
                      <a:cxn ang="0">
                        <a:pos x="connsiteX0" y="connsiteY0"/>
                      </a:cxn>
                      <a:cxn ang="0">
                        <a:pos x="connsiteX1" y="connsiteY1"/>
                      </a:cxn>
                      <a:cxn ang="0">
                        <a:pos x="connsiteX2" y="connsiteY2"/>
                      </a:cxn>
                      <a:cxn ang="0">
                        <a:pos x="connsiteX3" y="connsiteY3"/>
                      </a:cxn>
                    </a:cxnLst>
                    <a:rect l="l" t="t" r="r" b="b"/>
                    <a:pathLst>
                      <a:path w="1136650" h="177800">
                        <a:moveTo>
                          <a:pt x="0" y="177800"/>
                        </a:moveTo>
                        <a:lnTo>
                          <a:pt x="673100" y="177800"/>
                        </a:lnTo>
                        <a:lnTo>
                          <a:pt x="819150" y="0"/>
                        </a:lnTo>
                        <a:lnTo>
                          <a:pt x="1136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0" name="Freeform: Shape 409">
                    <a:extLst>
                      <a:ext uri="{FF2B5EF4-FFF2-40B4-BE49-F238E27FC236}">
                        <a16:creationId xmlns:a16="http://schemas.microsoft.com/office/drawing/2014/main" id="{891A5FF9-D3A5-4035-9223-05141384092E}"/>
                      </a:ext>
                    </a:extLst>
                  </p:cNvPr>
                  <p:cNvSpPr/>
                  <p:nvPr/>
                </p:nvSpPr>
                <p:spPr bwMode="auto">
                  <a:xfrm>
                    <a:off x="4909909" y="3472514"/>
                    <a:ext cx="1056894" cy="76540"/>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1" name="Freeform: Shape 410">
                    <a:extLst>
                      <a:ext uri="{FF2B5EF4-FFF2-40B4-BE49-F238E27FC236}">
                        <a16:creationId xmlns:a16="http://schemas.microsoft.com/office/drawing/2014/main" id="{233C8C52-8868-4B99-8892-71E0B91EBA06}"/>
                      </a:ext>
                    </a:extLst>
                  </p:cNvPr>
                  <p:cNvSpPr/>
                  <p:nvPr/>
                </p:nvSpPr>
                <p:spPr bwMode="auto">
                  <a:xfrm>
                    <a:off x="4356599" y="2485937"/>
                    <a:ext cx="1608881" cy="149162"/>
                  </a:xfrm>
                  <a:custGeom>
                    <a:avLst/>
                    <a:gdLst>
                      <a:gd name="connsiteX0" fmla="*/ 1441450 w 1441450"/>
                      <a:gd name="connsiteY0" fmla="*/ 0 h 139700"/>
                      <a:gd name="connsiteX1" fmla="*/ 654050 w 1441450"/>
                      <a:gd name="connsiteY1" fmla="*/ 0 h 139700"/>
                      <a:gd name="connsiteX2" fmla="*/ 546100 w 1441450"/>
                      <a:gd name="connsiteY2" fmla="*/ 139700 h 139700"/>
                      <a:gd name="connsiteX3" fmla="*/ 0 w 1441450"/>
                      <a:gd name="connsiteY3" fmla="*/ 139700 h 139700"/>
                    </a:gdLst>
                    <a:ahLst/>
                    <a:cxnLst>
                      <a:cxn ang="0">
                        <a:pos x="connsiteX0" y="connsiteY0"/>
                      </a:cxn>
                      <a:cxn ang="0">
                        <a:pos x="connsiteX1" y="connsiteY1"/>
                      </a:cxn>
                      <a:cxn ang="0">
                        <a:pos x="connsiteX2" y="connsiteY2"/>
                      </a:cxn>
                      <a:cxn ang="0">
                        <a:pos x="connsiteX3" y="connsiteY3"/>
                      </a:cxn>
                    </a:cxnLst>
                    <a:rect l="l" t="t" r="r" b="b"/>
                    <a:pathLst>
                      <a:path w="1441450" h="139700">
                        <a:moveTo>
                          <a:pt x="1441450" y="0"/>
                        </a:moveTo>
                        <a:lnTo>
                          <a:pt x="654050" y="0"/>
                        </a:lnTo>
                        <a:lnTo>
                          <a:pt x="546100" y="139700"/>
                        </a:lnTo>
                        <a:lnTo>
                          <a:pt x="0" y="1397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2" name="Freeform: Shape 411">
                    <a:extLst>
                      <a:ext uri="{FF2B5EF4-FFF2-40B4-BE49-F238E27FC236}">
                        <a16:creationId xmlns:a16="http://schemas.microsoft.com/office/drawing/2014/main" id="{A55EDBC1-0ACD-449F-B9C3-35BCCD75DC1A}"/>
                      </a:ext>
                    </a:extLst>
                  </p:cNvPr>
                  <p:cNvSpPr/>
                  <p:nvPr/>
                </p:nvSpPr>
                <p:spPr bwMode="auto">
                  <a:xfrm>
                    <a:off x="4518324" y="2607978"/>
                    <a:ext cx="1448860" cy="135602"/>
                  </a:xfrm>
                  <a:custGeom>
                    <a:avLst/>
                    <a:gdLst>
                      <a:gd name="connsiteX0" fmla="*/ 0 w 1301750"/>
                      <a:gd name="connsiteY0" fmla="*/ 127000 h 127000"/>
                      <a:gd name="connsiteX1" fmla="*/ 641350 w 1301750"/>
                      <a:gd name="connsiteY1" fmla="*/ 127000 h 127000"/>
                      <a:gd name="connsiteX2" fmla="*/ 730250 w 1301750"/>
                      <a:gd name="connsiteY2" fmla="*/ 0 h 127000"/>
                      <a:gd name="connsiteX3" fmla="*/ 1301750 w 1301750"/>
                      <a:gd name="connsiteY3" fmla="*/ 0 h 127000"/>
                    </a:gdLst>
                    <a:ahLst/>
                    <a:cxnLst>
                      <a:cxn ang="0">
                        <a:pos x="connsiteX0" y="connsiteY0"/>
                      </a:cxn>
                      <a:cxn ang="0">
                        <a:pos x="connsiteX1" y="connsiteY1"/>
                      </a:cxn>
                      <a:cxn ang="0">
                        <a:pos x="connsiteX2" y="connsiteY2"/>
                      </a:cxn>
                      <a:cxn ang="0">
                        <a:pos x="connsiteX3" y="connsiteY3"/>
                      </a:cxn>
                    </a:cxnLst>
                    <a:rect l="l" t="t" r="r" b="b"/>
                    <a:pathLst>
                      <a:path w="1301750" h="127000">
                        <a:moveTo>
                          <a:pt x="0" y="127000"/>
                        </a:moveTo>
                        <a:lnTo>
                          <a:pt x="641350" y="127000"/>
                        </a:lnTo>
                        <a:lnTo>
                          <a:pt x="730250" y="0"/>
                        </a:lnTo>
                        <a:lnTo>
                          <a:pt x="13017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3" name="Freeform: Shape 412">
                    <a:extLst>
                      <a:ext uri="{FF2B5EF4-FFF2-40B4-BE49-F238E27FC236}">
                        <a16:creationId xmlns:a16="http://schemas.microsoft.com/office/drawing/2014/main" id="{3D8BB4DA-BF28-4432-B15F-7588C08AE0CF}"/>
                      </a:ext>
                    </a:extLst>
                  </p:cNvPr>
                  <p:cNvSpPr/>
                  <p:nvPr/>
                </p:nvSpPr>
                <p:spPr bwMode="auto">
                  <a:xfrm>
                    <a:off x="3618298" y="2367096"/>
                    <a:ext cx="2348505" cy="0"/>
                  </a:xfrm>
                  <a:custGeom>
                    <a:avLst/>
                    <a:gdLst>
                      <a:gd name="connsiteX0" fmla="*/ 0 w 2120900"/>
                      <a:gd name="connsiteY0" fmla="*/ 0 h 0"/>
                      <a:gd name="connsiteX1" fmla="*/ 2120900 w 2120900"/>
                      <a:gd name="connsiteY1" fmla="*/ 0 h 0"/>
                    </a:gdLst>
                    <a:ahLst/>
                    <a:cxnLst>
                      <a:cxn ang="0">
                        <a:pos x="connsiteX0" y="connsiteY0"/>
                      </a:cxn>
                      <a:cxn ang="0">
                        <a:pos x="connsiteX1" y="connsiteY1"/>
                      </a:cxn>
                    </a:cxnLst>
                    <a:rect l="l" t="t" r="r" b="b"/>
                    <a:pathLst>
                      <a:path w="2120900">
                        <a:moveTo>
                          <a:pt x="0" y="0"/>
                        </a:moveTo>
                        <a:lnTo>
                          <a:pt x="2120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4" name="Freeform: Shape 413">
                    <a:extLst>
                      <a:ext uri="{FF2B5EF4-FFF2-40B4-BE49-F238E27FC236}">
                        <a16:creationId xmlns:a16="http://schemas.microsoft.com/office/drawing/2014/main" id="{E6800D20-2F3F-4C42-9C20-EAD051B1DA5F}"/>
                      </a:ext>
                    </a:extLst>
                  </p:cNvPr>
                  <p:cNvSpPr/>
                  <p:nvPr/>
                </p:nvSpPr>
                <p:spPr bwMode="auto">
                  <a:xfrm flipV="1">
                    <a:off x="4166751" y="2440321"/>
                    <a:ext cx="731682" cy="48815"/>
                  </a:xfrm>
                  <a:custGeom>
                    <a:avLst/>
                    <a:gdLst>
                      <a:gd name="connsiteX0" fmla="*/ 0 w 774700"/>
                      <a:gd name="connsiteY0" fmla="*/ 0 h 0"/>
                      <a:gd name="connsiteX1" fmla="*/ 774700 w 774700"/>
                      <a:gd name="connsiteY1" fmla="*/ 0 h 0"/>
                    </a:gdLst>
                    <a:ahLst/>
                    <a:cxnLst>
                      <a:cxn ang="0">
                        <a:pos x="connsiteX0" y="connsiteY0"/>
                      </a:cxn>
                      <a:cxn ang="0">
                        <a:pos x="connsiteX1" y="connsiteY1"/>
                      </a:cxn>
                    </a:cxnLst>
                    <a:rect l="l" t="t" r="r" b="b"/>
                    <a:pathLst>
                      <a:path w="774700">
                        <a:moveTo>
                          <a:pt x="0" y="0"/>
                        </a:moveTo>
                        <a:lnTo>
                          <a:pt x="774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5" name="Freeform: Shape 414">
                    <a:extLst>
                      <a:ext uri="{FF2B5EF4-FFF2-40B4-BE49-F238E27FC236}">
                        <a16:creationId xmlns:a16="http://schemas.microsoft.com/office/drawing/2014/main" id="{E427D2C9-6670-47C1-87EF-E20AFD8D39B4}"/>
                      </a:ext>
                    </a:extLst>
                  </p:cNvPr>
                  <p:cNvSpPr/>
                  <p:nvPr/>
                </p:nvSpPr>
                <p:spPr bwMode="auto">
                  <a:xfrm>
                    <a:off x="4809896" y="4224837"/>
                    <a:ext cx="1155585" cy="169502"/>
                  </a:xfrm>
                  <a:custGeom>
                    <a:avLst/>
                    <a:gdLst>
                      <a:gd name="connsiteX0" fmla="*/ 0 w 1016000"/>
                      <a:gd name="connsiteY0" fmla="*/ 0 h 158750"/>
                      <a:gd name="connsiteX1" fmla="*/ 215900 w 1016000"/>
                      <a:gd name="connsiteY1" fmla="*/ 0 h 158750"/>
                      <a:gd name="connsiteX2" fmla="*/ 374650 w 1016000"/>
                      <a:gd name="connsiteY2" fmla="*/ 158750 h 158750"/>
                      <a:gd name="connsiteX3" fmla="*/ 1016000 w 1016000"/>
                      <a:gd name="connsiteY3" fmla="*/ 158750 h 158750"/>
                    </a:gdLst>
                    <a:ahLst/>
                    <a:cxnLst>
                      <a:cxn ang="0">
                        <a:pos x="connsiteX0" y="connsiteY0"/>
                      </a:cxn>
                      <a:cxn ang="0">
                        <a:pos x="connsiteX1" y="connsiteY1"/>
                      </a:cxn>
                      <a:cxn ang="0">
                        <a:pos x="connsiteX2" y="connsiteY2"/>
                      </a:cxn>
                      <a:cxn ang="0">
                        <a:pos x="connsiteX3" y="connsiteY3"/>
                      </a:cxn>
                    </a:cxnLst>
                    <a:rect l="l" t="t" r="r" b="b"/>
                    <a:pathLst>
                      <a:path w="1016000" h="158750">
                        <a:moveTo>
                          <a:pt x="0" y="0"/>
                        </a:moveTo>
                        <a:lnTo>
                          <a:pt x="215900" y="0"/>
                        </a:lnTo>
                        <a:lnTo>
                          <a:pt x="374650" y="158750"/>
                        </a:lnTo>
                        <a:lnTo>
                          <a:pt x="1016000" y="1587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6" name="Freeform: Shape 415">
                    <a:extLst>
                      <a:ext uri="{FF2B5EF4-FFF2-40B4-BE49-F238E27FC236}">
                        <a16:creationId xmlns:a16="http://schemas.microsoft.com/office/drawing/2014/main" id="{13713727-4DD0-4D78-B633-7918204145D8}"/>
                      </a:ext>
                    </a:extLst>
                  </p:cNvPr>
                  <p:cNvSpPr/>
                  <p:nvPr/>
                </p:nvSpPr>
                <p:spPr bwMode="auto">
                  <a:xfrm flipV="1">
                    <a:off x="5349712" y="4163476"/>
                    <a:ext cx="615769" cy="46015"/>
                  </a:xfrm>
                  <a:custGeom>
                    <a:avLst/>
                    <a:gdLst>
                      <a:gd name="connsiteX0" fmla="*/ 0 w 647700"/>
                      <a:gd name="connsiteY0" fmla="*/ 0 h 0"/>
                      <a:gd name="connsiteX1" fmla="*/ 647700 w 647700"/>
                      <a:gd name="connsiteY1" fmla="*/ 0 h 0"/>
                    </a:gdLst>
                    <a:ahLst/>
                    <a:cxnLst>
                      <a:cxn ang="0">
                        <a:pos x="connsiteX0" y="connsiteY0"/>
                      </a:cxn>
                      <a:cxn ang="0">
                        <a:pos x="connsiteX1" y="connsiteY1"/>
                      </a:cxn>
                    </a:cxnLst>
                    <a:rect l="l" t="t" r="r" b="b"/>
                    <a:pathLst>
                      <a:path w="647700">
                        <a:moveTo>
                          <a:pt x="0" y="0"/>
                        </a:moveTo>
                        <a:lnTo>
                          <a:pt x="647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7" name="Freeform: Shape 416">
                    <a:extLst>
                      <a:ext uri="{FF2B5EF4-FFF2-40B4-BE49-F238E27FC236}">
                        <a16:creationId xmlns:a16="http://schemas.microsoft.com/office/drawing/2014/main" id="{5CD8C6B2-E01C-48B2-B52E-DE9745291AAF}"/>
                      </a:ext>
                    </a:extLst>
                  </p:cNvPr>
                  <p:cNvSpPr/>
                  <p:nvPr/>
                </p:nvSpPr>
                <p:spPr bwMode="auto">
                  <a:xfrm>
                    <a:off x="4713216" y="4394339"/>
                    <a:ext cx="303758" cy="0"/>
                  </a:xfrm>
                  <a:custGeom>
                    <a:avLst/>
                    <a:gdLst>
                      <a:gd name="connsiteX0" fmla="*/ 0 w 387350"/>
                      <a:gd name="connsiteY0" fmla="*/ 0 h 0"/>
                      <a:gd name="connsiteX1" fmla="*/ 387350 w 387350"/>
                      <a:gd name="connsiteY1" fmla="*/ 0 h 0"/>
                    </a:gdLst>
                    <a:ahLst/>
                    <a:cxnLst>
                      <a:cxn ang="0">
                        <a:pos x="connsiteX0" y="connsiteY0"/>
                      </a:cxn>
                      <a:cxn ang="0">
                        <a:pos x="connsiteX1" y="connsiteY1"/>
                      </a:cxn>
                    </a:cxnLst>
                    <a:rect l="l" t="t" r="r" b="b"/>
                    <a:pathLst>
                      <a:path w="387350">
                        <a:moveTo>
                          <a:pt x="0" y="0"/>
                        </a:moveTo>
                        <a:lnTo>
                          <a:pt x="3873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8" name="Freeform: Shape 417">
                    <a:extLst>
                      <a:ext uri="{FF2B5EF4-FFF2-40B4-BE49-F238E27FC236}">
                        <a16:creationId xmlns:a16="http://schemas.microsoft.com/office/drawing/2014/main" id="{E98BBBCF-7593-4AA3-B031-8D90B45E92FA}"/>
                      </a:ext>
                    </a:extLst>
                  </p:cNvPr>
                  <p:cNvSpPr/>
                  <p:nvPr/>
                </p:nvSpPr>
                <p:spPr bwMode="auto">
                  <a:xfrm>
                    <a:off x="4790846" y="3092564"/>
                    <a:ext cx="1175957" cy="115261"/>
                  </a:xfrm>
                  <a:custGeom>
                    <a:avLst/>
                    <a:gdLst>
                      <a:gd name="connsiteX0" fmla="*/ 0 w 1009650"/>
                      <a:gd name="connsiteY0" fmla="*/ 0 h 107950"/>
                      <a:gd name="connsiteX1" fmla="*/ 260350 w 1009650"/>
                      <a:gd name="connsiteY1" fmla="*/ 0 h 107950"/>
                      <a:gd name="connsiteX2" fmla="*/ 368300 w 1009650"/>
                      <a:gd name="connsiteY2" fmla="*/ 107950 h 107950"/>
                      <a:gd name="connsiteX3" fmla="*/ 1009650 w 1009650"/>
                      <a:gd name="connsiteY3" fmla="*/ 107950 h 107950"/>
                    </a:gdLst>
                    <a:ahLst/>
                    <a:cxnLst>
                      <a:cxn ang="0">
                        <a:pos x="connsiteX0" y="connsiteY0"/>
                      </a:cxn>
                      <a:cxn ang="0">
                        <a:pos x="connsiteX1" y="connsiteY1"/>
                      </a:cxn>
                      <a:cxn ang="0">
                        <a:pos x="connsiteX2" y="connsiteY2"/>
                      </a:cxn>
                      <a:cxn ang="0">
                        <a:pos x="connsiteX3" y="connsiteY3"/>
                      </a:cxn>
                    </a:cxnLst>
                    <a:rect l="l" t="t" r="r" b="b"/>
                    <a:pathLst>
                      <a:path w="1009650" h="107950">
                        <a:moveTo>
                          <a:pt x="0" y="0"/>
                        </a:moveTo>
                        <a:lnTo>
                          <a:pt x="260350" y="0"/>
                        </a:lnTo>
                        <a:lnTo>
                          <a:pt x="368300" y="107950"/>
                        </a:lnTo>
                        <a:lnTo>
                          <a:pt x="1009650" y="1079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9" name="Freeform: Shape 418">
                    <a:extLst>
                      <a:ext uri="{FF2B5EF4-FFF2-40B4-BE49-F238E27FC236}">
                        <a16:creationId xmlns:a16="http://schemas.microsoft.com/office/drawing/2014/main" id="{12F610BA-4DE5-4FA4-9600-99272CA1987F}"/>
                      </a:ext>
                    </a:extLst>
                  </p:cNvPr>
                  <p:cNvSpPr/>
                  <p:nvPr/>
                </p:nvSpPr>
                <p:spPr bwMode="auto">
                  <a:xfrm>
                    <a:off x="4920125" y="3801082"/>
                    <a:ext cx="1045356" cy="111871"/>
                  </a:xfrm>
                  <a:custGeom>
                    <a:avLst/>
                    <a:gdLst>
                      <a:gd name="connsiteX0" fmla="*/ 0 w 895350"/>
                      <a:gd name="connsiteY0" fmla="*/ 0 h 104775"/>
                      <a:gd name="connsiteX1" fmla="*/ 257175 w 895350"/>
                      <a:gd name="connsiteY1" fmla="*/ 0 h 104775"/>
                      <a:gd name="connsiteX2" fmla="*/ 361950 w 895350"/>
                      <a:gd name="connsiteY2" fmla="*/ 104775 h 104775"/>
                      <a:gd name="connsiteX3" fmla="*/ 895350 w 895350"/>
                      <a:gd name="connsiteY3" fmla="*/ 104775 h 104775"/>
                    </a:gdLst>
                    <a:ahLst/>
                    <a:cxnLst>
                      <a:cxn ang="0">
                        <a:pos x="connsiteX0" y="connsiteY0"/>
                      </a:cxn>
                      <a:cxn ang="0">
                        <a:pos x="connsiteX1" y="connsiteY1"/>
                      </a:cxn>
                      <a:cxn ang="0">
                        <a:pos x="connsiteX2" y="connsiteY2"/>
                      </a:cxn>
                      <a:cxn ang="0">
                        <a:pos x="connsiteX3" y="connsiteY3"/>
                      </a:cxn>
                    </a:cxnLst>
                    <a:rect l="l" t="t" r="r" b="b"/>
                    <a:pathLst>
                      <a:path w="895350" h="104775">
                        <a:moveTo>
                          <a:pt x="0" y="0"/>
                        </a:moveTo>
                        <a:lnTo>
                          <a:pt x="257175" y="0"/>
                        </a:lnTo>
                        <a:lnTo>
                          <a:pt x="361950" y="104775"/>
                        </a:lnTo>
                        <a:lnTo>
                          <a:pt x="895350" y="10477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0" name="Freeform: Shape 419">
                    <a:extLst>
                      <a:ext uri="{FF2B5EF4-FFF2-40B4-BE49-F238E27FC236}">
                        <a16:creationId xmlns:a16="http://schemas.microsoft.com/office/drawing/2014/main" id="{5D9E7F00-FBF0-461D-9C52-A26A50341D15}"/>
                      </a:ext>
                    </a:extLst>
                  </p:cNvPr>
                  <p:cNvSpPr/>
                  <p:nvPr/>
                </p:nvSpPr>
                <p:spPr bwMode="auto">
                  <a:xfrm>
                    <a:off x="4961015" y="3599714"/>
                    <a:ext cx="1004466" cy="65089"/>
                  </a:xfrm>
                  <a:custGeom>
                    <a:avLst/>
                    <a:gdLst>
                      <a:gd name="connsiteX0" fmla="*/ 883920 w 883920"/>
                      <a:gd name="connsiteY0" fmla="*/ 0 h 60960"/>
                      <a:gd name="connsiteX1" fmla="*/ 792480 w 883920"/>
                      <a:gd name="connsiteY1" fmla="*/ 0 h 60960"/>
                      <a:gd name="connsiteX2" fmla="*/ 731520 w 883920"/>
                      <a:gd name="connsiteY2" fmla="*/ 60960 h 60960"/>
                      <a:gd name="connsiteX3" fmla="*/ 0 w 883920"/>
                      <a:gd name="connsiteY3" fmla="*/ 60960 h 60960"/>
                    </a:gdLst>
                    <a:ahLst/>
                    <a:cxnLst>
                      <a:cxn ang="0">
                        <a:pos x="connsiteX0" y="connsiteY0"/>
                      </a:cxn>
                      <a:cxn ang="0">
                        <a:pos x="connsiteX1" y="connsiteY1"/>
                      </a:cxn>
                      <a:cxn ang="0">
                        <a:pos x="connsiteX2" y="connsiteY2"/>
                      </a:cxn>
                      <a:cxn ang="0">
                        <a:pos x="connsiteX3" y="connsiteY3"/>
                      </a:cxn>
                    </a:cxnLst>
                    <a:rect l="l" t="t" r="r" b="b"/>
                    <a:pathLst>
                      <a:path w="883920" h="60960">
                        <a:moveTo>
                          <a:pt x="883920" y="0"/>
                        </a:moveTo>
                        <a:lnTo>
                          <a:pt x="792480" y="0"/>
                        </a:lnTo>
                        <a:lnTo>
                          <a:pt x="731520" y="60960"/>
                        </a:lnTo>
                        <a:lnTo>
                          <a:pt x="0" y="6096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1" name="Freeform: Shape 420">
                    <a:extLst>
                      <a:ext uri="{FF2B5EF4-FFF2-40B4-BE49-F238E27FC236}">
                        <a16:creationId xmlns:a16="http://schemas.microsoft.com/office/drawing/2014/main" id="{18C444C0-D4B4-4111-BD68-A3ECAE7E6B35}"/>
                      </a:ext>
                    </a:extLst>
                  </p:cNvPr>
                  <p:cNvSpPr/>
                  <p:nvPr/>
                </p:nvSpPr>
                <p:spPr bwMode="auto">
                  <a:xfrm>
                    <a:off x="4613952" y="4543500"/>
                    <a:ext cx="1351529" cy="219674"/>
                  </a:xfrm>
                  <a:custGeom>
                    <a:avLst/>
                    <a:gdLst>
                      <a:gd name="connsiteX0" fmla="*/ 0 w 1196340"/>
                      <a:gd name="connsiteY0" fmla="*/ 0 h 205740"/>
                      <a:gd name="connsiteX1" fmla="*/ 220980 w 1196340"/>
                      <a:gd name="connsiteY1" fmla="*/ 205740 h 205740"/>
                      <a:gd name="connsiteX2" fmla="*/ 1196340 w 1196340"/>
                      <a:gd name="connsiteY2" fmla="*/ 205740 h 205740"/>
                    </a:gdLst>
                    <a:ahLst/>
                    <a:cxnLst>
                      <a:cxn ang="0">
                        <a:pos x="connsiteX0" y="connsiteY0"/>
                      </a:cxn>
                      <a:cxn ang="0">
                        <a:pos x="connsiteX1" y="connsiteY1"/>
                      </a:cxn>
                      <a:cxn ang="0">
                        <a:pos x="connsiteX2" y="connsiteY2"/>
                      </a:cxn>
                    </a:cxnLst>
                    <a:rect l="l" t="t" r="r" b="b"/>
                    <a:pathLst>
                      <a:path w="1196340" h="205740">
                        <a:moveTo>
                          <a:pt x="0" y="0"/>
                        </a:moveTo>
                        <a:lnTo>
                          <a:pt x="220980" y="205740"/>
                        </a:lnTo>
                        <a:lnTo>
                          <a:pt x="1196340" y="2057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2" name="Freeform: Shape 421">
                    <a:extLst>
                      <a:ext uri="{FF2B5EF4-FFF2-40B4-BE49-F238E27FC236}">
                        <a16:creationId xmlns:a16="http://schemas.microsoft.com/office/drawing/2014/main" id="{39A45D5A-AF71-4CDD-883B-03D56E7B0EFE}"/>
                      </a:ext>
                    </a:extLst>
                  </p:cNvPr>
                  <p:cNvSpPr/>
                  <p:nvPr/>
                </p:nvSpPr>
                <p:spPr bwMode="auto">
                  <a:xfrm>
                    <a:off x="4898433" y="4556191"/>
                    <a:ext cx="1067048" cy="65089"/>
                  </a:xfrm>
                  <a:custGeom>
                    <a:avLst/>
                    <a:gdLst>
                      <a:gd name="connsiteX0" fmla="*/ 960120 w 960120"/>
                      <a:gd name="connsiteY0" fmla="*/ 60960 h 60960"/>
                      <a:gd name="connsiteX1" fmla="*/ 807720 w 960120"/>
                      <a:gd name="connsiteY1" fmla="*/ 60960 h 60960"/>
                      <a:gd name="connsiteX2" fmla="*/ 746760 w 960120"/>
                      <a:gd name="connsiteY2" fmla="*/ 0 h 60960"/>
                      <a:gd name="connsiteX3" fmla="*/ 0 w 960120"/>
                      <a:gd name="connsiteY3" fmla="*/ 0 h 60960"/>
                    </a:gdLst>
                    <a:ahLst/>
                    <a:cxnLst>
                      <a:cxn ang="0">
                        <a:pos x="connsiteX0" y="connsiteY0"/>
                      </a:cxn>
                      <a:cxn ang="0">
                        <a:pos x="connsiteX1" y="connsiteY1"/>
                      </a:cxn>
                      <a:cxn ang="0">
                        <a:pos x="connsiteX2" y="connsiteY2"/>
                      </a:cxn>
                      <a:cxn ang="0">
                        <a:pos x="connsiteX3" y="connsiteY3"/>
                      </a:cxn>
                    </a:cxnLst>
                    <a:rect l="l" t="t" r="r" b="b"/>
                    <a:pathLst>
                      <a:path w="960120" h="60960">
                        <a:moveTo>
                          <a:pt x="960120" y="60960"/>
                        </a:moveTo>
                        <a:lnTo>
                          <a:pt x="807720" y="60960"/>
                        </a:lnTo>
                        <a:lnTo>
                          <a:pt x="74676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3" name="Freeform: Shape 422">
                    <a:extLst>
                      <a:ext uri="{FF2B5EF4-FFF2-40B4-BE49-F238E27FC236}">
                        <a16:creationId xmlns:a16="http://schemas.microsoft.com/office/drawing/2014/main" id="{74EEA1E4-7E79-478D-BB4C-BE6A8B70BE40}"/>
                      </a:ext>
                    </a:extLst>
                  </p:cNvPr>
                  <p:cNvSpPr/>
                  <p:nvPr/>
                </p:nvSpPr>
                <p:spPr bwMode="auto">
                  <a:xfrm>
                    <a:off x="4202679" y="4843519"/>
                    <a:ext cx="721218" cy="61021"/>
                  </a:xfrm>
                  <a:custGeom>
                    <a:avLst/>
                    <a:gdLst>
                      <a:gd name="connsiteX0" fmla="*/ 0 w 676275"/>
                      <a:gd name="connsiteY0" fmla="*/ 0 h 57150"/>
                      <a:gd name="connsiteX1" fmla="*/ 442912 w 676275"/>
                      <a:gd name="connsiteY1" fmla="*/ 0 h 57150"/>
                      <a:gd name="connsiteX2" fmla="*/ 676275 w 676275"/>
                      <a:gd name="connsiteY2" fmla="*/ 57150 h 57150"/>
                    </a:gdLst>
                    <a:ahLst/>
                    <a:cxnLst>
                      <a:cxn ang="0">
                        <a:pos x="connsiteX0" y="connsiteY0"/>
                      </a:cxn>
                      <a:cxn ang="0">
                        <a:pos x="connsiteX1" y="connsiteY1"/>
                      </a:cxn>
                      <a:cxn ang="0">
                        <a:pos x="connsiteX2" y="connsiteY2"/>
                      </a:cxn>
                    </a:cxnLst>
                    <a:rect l="l" t="t" r="r" b="b"/>
                    <a:pathLst>
                      <a:path w="676275" h="57150">
                        <a:moveTo>
                          <a:pt x="0" y="0"/>
                        </a:moveTo>
                        <a:lnTo>
                          <a:pt x="442912" y="0"/>
                        </a:lnTo>
                        <a:lnTo>
                          <a:pt x="676275" y="571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4" name="Freeform: Shape 423">
                    <a:extLst>
                      <a:ext uri="{FF2B5EF4-FFF2-40B4-BE49-F238E27FC236}">
                        <a16:creationId xmlns:a16="http://schemas.microsoft.com/office/drawing/2014/main" id="{B189AB1D-61D7-4E21-BE79-68B3C48574EF}"/>
                      </a:ext>
                    </a:extLst>
                  </p:cNvPr>
                  <p:cNvSpPr/>
                  <p:nvPr/>
                </p:nvSpPr>
                <p:spPr bwMode="auto">
                  <a:xfrm>
                    <a:off x="5263658" y="3323086"/>
                    <a:ext cx="703145" cy="122041"/>
                  </a:xfrm>
                  <a:custGeom>
                    <a:avLst/>
                    <a:gdLst>
                      <a:gd name="connsiteX0" fmla="*/ 622300 w 622300"/>
                      <a:gd name="connsiteY0" fmla="*/ 0 h 114300"/>
                      <a:gd name="connsiteX1" fmla="*/ 120650 w 622300"/>
                      <a:gd name="connsiteY1" fmla="*/ 0 h 114300"/>
                      <a:gd name="connsiteX2" fmla="*/ 0 w 622300"/>
                      <a:gd name="connsiteY2" fmla="*/ 114300 h 114300"/>
                    </a:gdLst>
                    <a:ahLst/>
                    <a:cxnLst>
                      <a:cxn ang="0">
                        <a:pos x="connsiteX0" y="connsiteY0"/>
                      </a:cxn>
                      <a:cxn ang="0">
                        <a:pos x="connsiteX1" y="connsiteY1"/>
                      </a:cxn>
                      <a:cxn ang="0">
                        <a:pos x="connsiteX2" y="connsiteY2"/>
                      </a:cxn>
                    </a:cxnLst>
                    <a:rect l="l" t="t" r="r" b="b"/>
                    <a:pathLst>
                      <a:path w="622300" h="114300">
                        <a:moveTo>
                          <a:pt x="622300" y="0"/>
                        </a:moveTo>
                        <a:lnTo>
                          <a:pt x="120650" y="0"/>
                        </a:lnTo>
                        <a:lnTo>
                          <a:pt x="0" y="1143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5" name="Freeform: Shape 424">
                    <a:extLst>
                      <a:ext uri="{FF2B5EF4-FFF2-40B4-BE49-F238E27FC236}">
                        <a16:creationId xmlns:a16="http://schemas.microsoft.com/office/drawing/2014/main" id="{6A1D2259-FFE2-4D4A-AE33-67410B1A43E7}"/>
                      </a:ext>
                    </a:extLst>
                  </p:cNvPr>
                  <p:cNvSpPr/>
                  <p:nvPr/>
                </p:nvSpPr>
                <p:spPr bwMode="auto">
                  <a:xfrm>
                    <a:off x="4882339" y="4028944"/>
                    <a:ext cx="470566" cy="181464"/>
                  </a:xfrm>
                  <a:custGeom>
                    <a:avLst/>
                    <a:gdLst>
                      <a:gd name="connsiteX0" fmla="*/ 0 w 279400"/>
                      <a:gd name="connsiteY0" fmla="*/ 0 h 203200"/>
                      <a:gd name="connsiteX1" fmla="*/ 215900 w 279400"/>
                      <a:gd name="connsiteY1" fmla="*/ 0 h 203200"/>
                      <a:gd name="connsiteX2" fmla="*/ 279400 w 279400"/>
                      <a:gd name="connsiteY2" fmla="*/ 203200 h 203200"/>
                    </a:gdLst>
                    <a:ahLst/>
                    <a:cxnLst>
                      <a:cxn ang="0">
                        <a:pos x="connsiteX0" y="connsiteY0"/>
                      </a:cxn>
                      <a:cxn ang="0">
                        <a:pos x="connsiteX1" y="connsiteY1"/>
                      </a:cxn>
                      <a:cxn ang="0">
                        <a:pos x="connsiteX2" y="connsiteY2"/>
                      </a:cxn>
                    </a:cxnLst>
                    <a:rect l="l" t="t" r="r" b="b"/>
                    <a:pathLst>
                      <a:path w="279400" h="203200">
                        <a:moveTo>
                          <a:pt x="0" y="0"/>
                        </a:moveTo>
                        <a:lnTo>
                          <a:pt x="215900" y="0"/>
                        </a:lnTo>
                        <a:lnTo>
                          <a:pt x="279400" y="2032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6" name="Freeform: Shape 425">
                    <a:extLst>
                      <a:ext uri="{FF2B5EF4-FFF2-40B4-BE49-F238E27FC236}">
                        <a16:creationId xmlns:a16="http://schemas.microsoft.com/office/drawing/2014/main" id="{F9AEEE62-F644-4DC2-B888-43682C4EDDBC}"/>
                      </a:ext>
                    </a:extLst>
                  </p:cNvPr>
                  <p:cNvSpPr/>
                  <p:nvPr/>
                </p:nvSpPr>
                <p:spPr bwMode="auto">
                  <a:xfrm>
                    <a:off x="5411318" y="4034995"/>
                    <a:ext cx="554163" cy="61021"/>
                  </a:xfrm>
                  <a:custGeom>
                    <a:avLst/>
                    <a:gdLst>
                      <a:gd name="connsiteX0" fmla="*/ 495300 w 495300"/>
                      <a:gd name="connsiteY0" fmla="*/ 57150 h 57150"/>
                      <a:gd name="connsiteX1" fmla="*/ 63500 w 495300"/>
                      <a:gd name="connsiteY1" fmla="*/ 57150 h 57150"/>
                      <a:gd name="connsiteX2" fmla="*/ 0 w 495300"/>
                      <a:gd name="connsiteY2" fmla="*/ 0 h 57150"/>
                    </a:gdLst>
                    <a:ahLst/>
                    <a:cxnLst>
                      <a:cxn ang="0">
                        <a:pos x="connsiteX0" y="connsiteY0"/>
                      </a:cxn>
                      <a:cxn ang="0">
                        <a:pos x="connsiteX1" y="connsiteY1"/>
                      </a:cxn>
                      <a:cxn ang="0">
                        <a:pos x="connsiteX2" y="connsiteY2"/>
                      </a:cxn>
                    </a:cxnLst>
                    <a:rect l="l" t="t" r="r" b="b"/>
                    <a:pathLst>
                      <a:path w="495300" h="57150">
                        <a:moveTo>
                          <a:pt x="495300" y="57150"/>
                        </a:moveTo>
                        <a:lnTo>
                          <a:pt x="63500" y="5715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7" name="Freeform: Shape 426">
                    <a:extLst>
                      <a:ext uri="{FF2B5EF4-FFF2-40B4-BE49-F238E27FC236}">
                        <a16:creationId xmlns:a16="http://schemas.microsoft.com/office/drawing/2014/main" id="{730BE27A-1B0E-4B76-8ACF-8124D17098AA}"/>
                      </a:ext>
                    </a:extLst>
                  </p:cNvPr>
                  <p:cNvSpPr/>
                  <p:nvPr/>
                </p:nvSpPr>
                <p:spPr bwMode="auto">
                  <a:xfrm>
                    <a:off x="5445922" y="3017981"/>
                    <a:ext cx="520881" cy="45719"/>
                  </a:xfrm>
                  <a:custGeom>
                    <a:avLst/>
                    <a:gdLst>
                      <a:gd name="connsiteX0" fmla="*/ 393700 w 393700"/>
                      <a:gd name="connsiteY0" fmla="*/ 0 h 0"/>
                      <a:gd name="connsiteX1" fmla="*/ 0 w 393700"/>
                      <a:gd name="connsiteY1" fmla="*/ 0 h 0"/>
                    </a:gdLst>
                    <a:ahLst/>
                    <a:cxnLst>
                      <a:cxn ang="0">
                        <a:pos x="connsiteX0" y="connsiteY0"/>
                      </a:cxn>
                      <a:cxn ang="0">
                        <a:pos x="connsiteX1" y="connsiteY1"/>
                      </a:cxn>
                    </a:cxnLst>
                    <a:rect l="l" t="t" r="r" b="b"/>
                    <a:pathLst>
                      <a:path w="393700">
                        <a:moveTo>
                          <a:pt x="393700" y="0"/>
                        </a:move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8" name="Oval 427">
                    <a:extLst>
                      <a:ext uri="{FF2B5EF4-FFF2-40B4-BE49-F238E27FC236}">
                        <a16:creationId xmlns:a16="http://schemas.microsoft.com/office/drawing/2014/main" id="{F2B4E97A-EC0D-4D27-A742-6361094E0F35}"/>
                      </a:ext>
                    </a:extLst>
                  </p:cNvPr>
                  <p:cNvSpPr/>
                  <p:nvPr/>
                </p:nvSpPr>
                <p:spPr bwMode="auto">
                  <a:xfrm>
                    <a:off x="5403489" y="2980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9" name="Oval 428">
                    <a:extLst>
                      <a:ext uri="{FF2B5EF4-FFF2-40B4-BE49-F238E27FC236}">
                        <a16:creationId xmlns:a16="http://schemas.microsoft.com/office/drawing/2014/main" id="{EB2DC6AB-B3D5-48E4-8441-8EF7FBACB347}"/>
                      </a:ext>
                    </a:extLst>
                  </p:cNvPr>
                  <p:cNvSpPr/>
                  <p:nvPr/>
                </p:nvSpPr>
                <p:spPr bwMode="auto">
                  <a:xfrm>
                    <a:off x="5184515" y="317477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0" name="Oval 429">
                    <a:extLst>
                      <a:ext uri="{FF2B5EF4-FFF2-40B4-BE49-F238E27FC236}">
                        <a16:creationId xmlns:a16="http://schemas.microsoft.com/office/drawing/2014/main" id="{E04899FC-2063-42FA-A4E5-540C447F355F}"/>
                      </a:ext>
                    </a:extLst>
                  </p:cNvPr>
                  <p:cNvSpPr/>
                  <p:nvPr/>
                </p:nvSpPr>
                <p:spPr bwMode="auto">
                  <a:xfrm>
                    <a:off x="4852323" y="24552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1" name="Oval 430">
                    <a:extLst>
                      <a:ext uri="{FF2B5EF4-FFF2-40B4-BE49-F238E27FC236}">
                        <a16:creationId xmlns:a16="http://schemas.microsoft.com/office/drawing/2014/main" id="{D3F65C75-6817-4281-ADEE-1CF7BDA64626}"/>
                      </a:ext>
                    </a:extLst>
                  </p:cNvPr>
                  <p:cNvSpPr/>
                  <p:nvPr/>
                </p:nvSpPr>
                <p:spPr bwMode="auto">
                  <a:xfrm>
                    <a:off x="5040005" y="246017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2" name="Oval 431">
                    <a:extLst>
                      <a:ext uri="{FF2B5EF4-FFF2-40B4-BE49-F238E27FC236}">
                        <a16:creationId xmlns:a16="http://schemas.microsoft.com/office/drawing/2014/main" id="{335432F5-4D30-462F-AC56-D68BFB001252}"/>
                      </a:ext>
                    </a:extLst>
                  </p:cNvPr>
                  <p:cNvSpPr/>
                  <p:nvPr/>
                </p:nvSpPr>
                <p:spPr bwMode="auto">
                  <a:xfrm>
                    <a:off x="4870010" y="259984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3" name="Oval 432">
                    <a:extLst>
                      <a:ext uri="{FF2B5EF4-FFF2-40B4-BE49-F238E27FC236}">
                        <a16:creationId xmlns:a16="http://schemas.microsoft.com/office/drawing/2014/main" id="{E7385129-002D-455B-A54F-1F6030BBBDA8}"/>
                      </a:ext>
                    </a:extLst>
                  </p:cNvPr>
                  <p:cNvSpPr/>
                  <p:nvPr/>
                </p:nvSpPr>
                <p:spPr bwMode="auto">
                  <a:xfrm>
                    <a:off x="5285103" y="257998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4" name="Oval 433">
                    <a:extLst>
                      <a:ext uri="{FF2B5EF4-FFF2-40B4-BE49-F238E27FC236}">
                        <a16:creationId xmlns:a16="http://schemas.microsoft.com/office/drawing/2014/main" id="{8CC5FBC1-CCA1-4A26-AE37-A26C1185BD41}"/>
                      </a:ext>
                    </a:extLst>
                  </p:cNvPr>
                  <p:cNvSpPr/>
                  <p:nvPr/>
                </p:nvSpPr>
                <p:spPr bwMode="auto">
                  <a:xfrm>
                    <a:off x="5560235" y="272890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5" name="Oval 434">
                    <a:extLst>
                      <a:ext uri="{FF2B5EF4-FFF2-40B4-BE49-F238E27FC236}">
                        <a16:creationId xmlns:a16="http://schemas.microsoft.com/office/drawing/2014/main" id="{FB93D182-A523-489C-B6EF-8C4345ABE86A}"/>
                      </a:ext>
                    </a:extLst>
                  </p:cNvPr>
                  <p:cNvSpPr/>
                  <p:nvPr/>
                </p:nvSpPr>
                <p:spPr bwMode="auto">
                  <a:xfrm>
                    <a:off x="5129801" y="270067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6" name="Oval 435">
                    <a:extLst>
                      <a:ext uri="{FF2B5EF4-FFF2-40B4-BE49-F238E27FC236}">
                        <a16:creationId xmlns:a16="http://schemas.microsoft.com/office/drawing/2014/main" id="{B34304BC-64CC-4030-AD18-A07F59E6AB5A}"/>
                      </a:ext>
                    </a:extLst>
                  </p:cNvPr>
                  <p:cNvSpPr/>
                  <p:nvPr/>
                </p:nvSpPr>
                <p:spPr bwMode="auto">
                  <a:xfrm>
                    <a:off x="5229757" y="34307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7" name="Oval 436">
                    <a:extLst>
                      <a:ext uri="{FF2B5EF4-FFF2-40B4-BE49-F238E27FC236}">
                        <a16:creationId xmlns:a16="http://schemas.microsoft.com/office/drawing/2014/main" id="{0C6C1E54-4D2D-4C47-9C55-5F97565B1B8E}"/>
                      </a:ext>
                    </a:extLst>
                  </p:cNvPr>
                  <p:cNvSpPr/>
                  <p:nvPr/>
                </p:nvSpPr>
                <p:spPr bwMode="auto">
                  <a:xfrm>
                    <a:off x="5656443" y="363497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8" name="Oval 437">
                    <a:extLst>
                      <a:ext uri="{FF2B5EF4-FFF2-40B4-BE49-F238E27FC236}">
                        <a16:creationId xmlns:a16="http://schemas.microsoft.com/office/drawing/2014/main" id="{6821307A-82AD-49F5-8737-8FE88E6B3C1C}"/>
                      </a:ext>
                    </a:extLst>
                  </p:cNvPr>
                  <p:cNvSpPr/>
                  <p:nvPr/>
                </p:nvSpPr>
                <p:spPr bwMode="auto">
                  <a:xfrm>
                    <a:off x="5181173" y="377130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9" name="Oval 438">
                    <a:extLst>
                      <a:ext uri="{FF2B5EF4-FFF2-40B4-BE49-F238E27FC236}">
                        <a16:creationId xmlns:a16="http://schemas.microsoft.com/office/drawing/2014/main" id="{234E7036-AF1B-4649-8A7D-624AA97E8C7D}"/>
                      </a:ext>
                    </a:extLst>
                  </p:cNvPr>
                  <p:cNvSpPr/>
                  <p:nvPr/>
                </p:nvSpPr>
                <p:spPr bwMode="auto">
                  <a:xfrm>
                    <a:off x="5312364" y="4173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0" name="Oval 439">
                    <a:extLst>
                      <a:ext uri="{FF2B5EF4-FFF2-40B4-BE49-F238E27FC236}">
                        <a16:creationId xmlns:a16="http://schemas.microsoft.com/office/drawing/2014/main" id="{A9E01314-521E-424F-A816-06FC45879ABA}"/>
                      </a:ext>
                    </a:extLst>
                  </p:cNvPr>
                  <p:cNvSpPr/>
                  <p:nvPr/>
                </p:nvSpPr>
                <p:spPr bwMode="auto">
                  <a:xfrm>
                    <a:off x="5371468" y="400109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1" name="Oval 440">
                    <a:extLst>
                      <a:ext uri="{FF2B5EF4-FFF2-40B4-BE49-F238E27FC236}">
                        <a16:creationId xmlns:a16="http://schemas.microsoft.com/office/drawing/2014/main" id="{FBD2210B-7B5E-4E34-B65D-C23072283512}"/>
                      </a:ext>
                    </a:extLst>
                  </p:cNvPr>
                  <p:cNvSpPr/>
                  <p:nvPr/>
                </p:nvSpPr>
                <p:spPr bwMode="auto">
                  <a:xfrm>
                    <a:off x="4995725" y="435956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2" name="Oval 441">
                    <a:extLst>
                      <a:ext uri="{FF2B5EF4-FFF2-40B4-BE49-F238E27FC236}">
                        <a16:creationId xmlns:a16="http://schemas.microsoft.com/office/drawing/2014/main" id="{0BFCF36D-BCD0-4534-BE32-25D1A198D99A}"/>
                      </a:ext>
                    </a:extLst>
                  </p:cNvPr>
                  <p:cNvSpPr/>
                  <p:nvPr/>
                </p:nvSpPr>
                <p:spPr bwMode="auto">
                  <a:xfrm>
                    <a:off x="4982844" y="419025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3" name="Oval 442">
                    <a:extLst>
                      <a:ext uri="{FF2B5EF4-FFF2-40B4-BE49-F238E27FC236}">
                        <a16:creationId xmlns:a16="http://schemas.microsoft.com/office/drawing/2014/main" id="{5FDA6BFE-AEBC-4111-8069-DD252A0635D9}"/>
                      </a:ext>
                    </a:extLst>
                  </p:cNvPr>
                  <p:cNvSpPr/>
                  <p:nvPr/>
                </p:nvSpPr>
                <p:spPr bwMode="auto">
                  <a:xfrm>
                    <a:off x="5724921" y="435617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4" name="Oval 443">
                    <a:extLst>
                      <a:ext uri="{FF2B5EF4-FFF2-40B4-BE49-F238E27FC236}">
                        <a16:creationId xmlns:a16="http://schemas.microsoft.com/office/drawing/2014/main" id="{1CBA3826-C498-452B-837B-C465B4C6FF14}"/>
                      </a:ext>
                    </a:extLst>
                  </p:cNvPr>
                  <p:cNvSpPr/>
                  <p:nvPr/>
                </p:nvSpPr>
                <p:spPr bwMode="auto">
                  <a:xfrm>
                    <a:off x="4856096" y="4529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5" name="Oval 444">
                    <a:extLst>
                      <a:ext uri="{FF2B5EF4-FFF2-40B4-BE49-F238E27FC236}">
                        <a16:creationId xmlns:a16="http://schemas.microsoft.com/office/drawing/2014/main" id="{C1155A6F-C169-4270-AF42-1BB961055F2E}"/>
                      </a:ext>
                    </a:extLst>
                  </p:cNvPr>
                  <p:cNvSpPr/>
                  <p:nvPr/>
                </p:nvSpPr>
                <p:spPr bwMode="auto">
                  <a:xfrm>
                    <a:off x="4915043" y="4873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6" name="Oval 445">
                    <a:extLst>
                      <a:ext uri="{FF2B5EF4-FFF2-40B4-BE49-F238E27FC236}">
                        <a16:creationId xmlns:a16="http://schemas.microsoft.com/office/drawing/2014/main" id="{AA93FBFC-DCE6-46D8-B736-627B5B22A441}"/>
                      </a:ext>
                    </a:extLst>
                  </p:cNvPr>
                  <p:cNvSpPr/>
                  <p:nvPr/>
                </p:nvSpPr>
                <p:spPr bwMode="auto">
                  <a:xfrm>
                    <a:off x="5691020" y="452576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7" name="Freeform: Shape 446">
                    <a:extLst>
                      <a:ext uri="{FF2B5EF4-FFF2-40B4-BE49-F238E27FC236}">
                        <a16:creationId xmlns:a16="http://schemas.microsoft.com/office/drawing/2014/main" id="{551536E4-861C-4EAC-BB4A-94F45E67BCC5}"/>
                      </a:ext>
                    </a:extLst>
                  </p:cNvPr>
                  <p:cNvSpPr/>
                  <p:nvPr/>
                </p:nvSpPr>
                <p:spPr bwMode="auto">
                  <a:xfrm>
                    <a:off x="1283265" y="2726531"/>
                    <a:ext cx="1364456" cy="50007"/>
                  </a:xfrm>
                  <a:custGeom>
                    <a:avLst/>
                    <a:gdLst>
                      <a:gd name="connsiteX0" fmla="*/ 0 w 1364456"/>
                      <a:gd name="connsiteY0" fmla="*/ 0 h 50007"/>
                      <a:gd name="connsiteX1" fmla="*/ 1257300 w 1364456"/>
                      <a:gd name="connsiteY1" fmla="*/ 0 h 50007"/>
                      <a:gd name="connsiteX2" fmla="*/ 1364456 w 1364456"/>
                      <a:gd name="connsiteY2" fmla="*/ 50007 h 50007"/>
                    </a:gdLst>
                    <a:ahLst/>
                    <a:cxnLst>
                      <a:cxn ang="0">
                        <a:pos x="connsiteX0" y="connsiteY0"/>
                      </a:cxn>
                      <a:cxn ang="0">
                        <a:pos x="connsiteX1" y="connsiteY1"/>
                      </a:cxn>
                      <a:cxn ang="0">
                        <a:pos x="connsiteX2" y="connsiteY2"/>
                      </a:cxn>
                    </a:cxnLst>
                    <a:rect l="l" t="t" r="r" b="b"/>
                    <a:pathLst>
                      <a:path w="1364456" h="50007">
                        <a:moveTo>
                          <a:pt x="0" y="0"/>
                        </a:moveTo>
                        <a:lnTo>
                          <a:pt x="1257300" y="0"/>
                        </a:lnTo>
                        <a:lnTo>
                          <a:pt x="1364456" y="50007"/>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8" name="Oval 447">
                    <a:extLst>
                      <a:ext uri="{FF2B5EF4-FFF2-40B4-BE49-F238E27FC236}">
                        <a16:creationId xmlns:a16="http://schemas.microsoft.com/office/drawing/2014/main" id="{3CD9BAF1-4FED-4E90-AB6B-7C48DBE650CE}"/>
                      </a:ext>
                    </a:extLst>
                  </p:cNvPr>
                  <p:cNvSpPr/>
                  <p:nvPr/>
                </p:nvSpPr>
                <p:spPr bwMode="auto">
                  <a:xfrm>
                    <a:off x="3076909" y="246201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9" name="Oval 448">
                    <a:extLst>
                      <a:ext uri="{FF2B5EF4-FFF2-40B4-BE49-F238E27FC236}">
                        <a16:creationId xmlns:a16="http://schemas.microsoft.com/office/drawing/2014/main" id="{64C6C008-636C-4190-80E4-6B4E1322D3C1}"/>
                      </a:ext>
                    </a:extLst>
                  </p:cNvPr>
                  <p:cNvSpPr/>
                  <p:nvPr/>
                </p:nvSpPr>
                <p:spPr bwMode="auto">
                  <a:xfrm>
                    <a:off x="2483618" y="25008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0" name="Oval 449">
                    <a:extLst>
                      <a:ext uri="{FF2B5EF4-FFF2-40B4-BE49-F238E27FC236}">
                        <a16:creationId xmlns:a16="http://schemas.microsoft.com/office/drawing/2014/main" id="{5DACFE6F-510A-41D1-B624-E0660085A58D}"/>
                      </a:ext>
                    </a:extLst>
                  </p:cNvPr>
                  <p:cNvSpPr/>
                  <p:nvPr/>
                </p:nvSpPr>
                <p:spPr bwMode="auto">
                  <a:xfrm>
                    <a:off x="2787284" y="261984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1" name="Oval 450">
                    <a:extLst>
                      <a:ext uri="{FF2B5EF4-FFF2-40B4-BE49-F238E27FC236}">
                        <a16:creationId xmlns:a16="http://schemas.microsoft.com/office/drawing/2014/main" id="{D31E1F22-F45E-4DC8-BEB8-9AB916A11B77}"/>
                      </a:ext>
                    </a:extLst>
                  </p:cNvPr>
                  <p:cNvSpPr/>
                  <p:nvPr/>
                </p:nvSpPr>
                <p:spPr bwMode="auto">
                  <a:xfrm>
                    <a:off x="2480353" y="29840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2" name="Oval 451">
                    <a:extLst>
                      <a:ext uri="{FF2B5EF4-FFF2-40B4-BE49-F238E27FC236}">
                        <a16:creationId xmlns:a16="http://schemas.microsoft.com/office/drawing/2014/main" id="{CE074DD4-6AD9-4D67-936A-BEBC6E6062C5}"/>
                      </a:ext>
                    </a:extLst>
                  </p:cNvPr>
                  <p:cNvSpPr/>
                  <p:nvPr/>
                </p:nvSpPr>
                <p:spPr bwMode="auto">
                  <a:xfrm>
                    <a:off x="2365830"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3" name="Oval 452">
                    <a:extLst>
                      <a:ext uri="{FF2B5EF4-FFF2-40B4-BE49-F238E27FC236}">
                        <a16:creationId xmlns:a16="http://schemas.microsoft.com/office/drawing/2014/main" id="{48AFE68A-78B3-4043-9F2C-85991884C9EE}"/>
                      </a:ext>
                    </a:extLst>
                  </p:cNvPr>
                  <p:cNvSpPr/>
                  <p:nvPr/>
                </p:nvSpPr>
                <p:spPr bwMode="auto">
                  <a:xfrm>
                    <a:off x="2303641" y="351276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4" name="Oval 453">
                    <a:extLst>
                      <a:ext uri="{FF2B5EF4-FFF2-40B4-BE49-F238E27FC236}">
                        <a16:creationId xmlns:a16="http://schemas.microsoft.com/office/drawing/2014/main" id="{A6AD91DB-C952-409B-B247-FE829B913686}"/>
                      </a:ext>
                    </a:extLst>
                  </p:cNvPr>
                  <p:cNvSpPr/>
                  <p:nvPr/>
                </p:nvSpPr>
                <p:spPr bwMode="auto">
                  <a:xfrm>
                    <a:off x="2279232" y="37434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5" name="Oval 454">
                    <a:extLst>
                      <a:ext uri="{FF2B5EF4-FFF2-40B4-BE49-F238E27FC236}">
                        <a16:creationId xmlns:a16="http://schemas.microsoft.com/office/drawing/2014/main" id="{3C99FEF6-BF7E-4CA7-9EB4-E866DB31FAE9}"/>
                      </a:ext>
                    </a:extLst>
                  </p:cNvPr>
                  <p:cNvSpPr/>
                  <p:nvPr/>
                </p:nvSpPr>
                <p:spPr bwMode="auto">
                  <a:xfrm>
                    <a:off x="2443424"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6" name="Oval 455">
                    <a:extLst>
                      <a:ext uri="{FF2B5EF4-FFF2-40B4-BE49-F238E27FC236}">
                        <a16:creationId xmlns:a16="http://schemas.microsoft.com/office/drawing/2014/main" id="{1611D360-0E4D-450F-B090-359D593FE15C}"/>
                      </a:ext>
                    </a:extLst>
                  </p:cNvPr>
                  <p:cNvSpPr/>
                  <p:nvPr/>
                </p:nvSpPr>
                <p:spPr bwMode="auto">
                  <a:xfrm>
                    <a:off x="2466505" y="448253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7" name="Oval 456">
                    <a:extLst>
                      <a:ext uri="{FF2B5EF4-FFF2-40B4-BE49-F238E27FC236}">
                        <a16:creationId xmlns:a16="http://schemas.microsoft.com/office/drawing/2014/main" id="{1C7240EF-E9CC-4868-9DA9-C723D2804E17}"/>
                      </a:ext>
                    </a:extLst>
                  </p:cNvPr>
                  <p:cNvSpPr/>
                  <p:nvPr/>
                </p:nvSpPr>
                <p:spPr bwMode="auto">
                  <a:xfrm>
                    <a:off x="2934300" y="47777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8" name="Oval 457">
                    <a:extLst>
                      <a:ext uri="{FF2B5EF4-FFF2-40B4-BE49-F238E27FC236}">
                        <a16:creationId xmlns:a16="http://schemas.microsoft.com/office/drawing/2014/main" id="{258EA681-CE17-4634-9D8F-E2D64AE7694B}"/>
                      </a:ext>
                    </a:extLst>
                  </p:cNvPr>
                  <p:cNvSpPr/>
                  <p:nvPr/>
                </p:nvSpPr>
                <p:spPr bwMode="auto">
                  <a:xfrm>
                    <a:off x="2269409" y="4794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9" name="Freeform: Shape 458">
                    <a:extLst>
                      <a:ext uri="{FF2B5EF4-FFF2-40B4-BE49-F238E27FC236}">
                        <a16:creationId xmlns:a16="http://schemas.microsoft.com/office/drawing/2014/main" id="{BE27DBC6-55EC-4B27-9292-035CFCA0853E}"/>
                      </a:ext>
                    </a:extLst>
                  </p:cNvPr>
                  <p:cNvSpPr/>
                  <p:nvPr/>
                </p:nvSpPr>
                <p:spPr bwMode="auto">
                  <a:xfrm>
                    <a:off x="4343944" y="4771311"/>
                    <a:ext cx="362823" cy="0"/>
                  </a:xfrm>
                  <a:custGeom>
                    <a:avLst/>
                    <a:gdLst>
                      <a:gd name="connsiteX0" fmla="*/ 0 w 327660"/>
                      <a:gd name="connsiteY0" fmla="*/ 0 h 0"/>
                      <a:gd name="connsiteX1" fmla="*/ 327660 w 327660"/>
                      <a:gd name="connsiteY1" fmla="*/ 0 h 0"/>
                    </a:gdLst>
                    <a:ahLst/>
                    <a:cxnLst>
                      <a:cxn ang="0">
                        <a:pos x="connsiteX0" y="connsiteY0"/>
                      </a:cxn>
                      <a:cxn ang="0">
                        <a:pos x="connsiteX1" y="connsiteY1"/>
                      </a:cxn>
                    </a:cxnLst>
                    <a:rect l="l" t="t" r="r" b="b"/>
                    <a:pathLst>
                      <a:path w="327660">
                        <a:moveTo>
                          <a:pt x="0" y="0"/>
                        </a:moveTo>
                        <a:lnTo>
                          <a:pt x="32766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0" name="Oval 459">
                    <a:extLst>
                      <a:ext uri="{FF2B5EF4-FFF2-40B4-BE49-F238E27FC236}">
                        <a16:creationId xmlns:a16="http://schemas.microsoft.com/office/drawing/2014/main" id="{73560362-68D2-41B6-BD39-8799B7D86E29}"/>
                      </a:ext>
                    </a:extLst>
                  </p:cNvPr>
                  <p:cNvSpPr/>
                  <p:nvPr/>
                </p:nvSpPr>
                <p:spPr bwMode="auto">
                  <a:xfrm>
                    <a:off x="4654405" y="29103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1" name="Oval 460">
                    <a:extLst>
                      <a:ext uri="{FF2B5EF4-FFF2-40B4-BE49-F238E27FC236}">
                        <a16:creationId xmlns:a16="http://schemas.microsoft.com/office/drawing/2014/main" id="{992AC2A5-CE81-4DEB-B02A-C3361976C512}"/>
                      </a:ext>
                    </a:extLst>
                  </p:cNvPr>
                  <p:cNvSpPr/>
                  <p:nvPr/>
                </p:nvSpPr>
                <p:spPr bwMode="auto">
                  <a:xfrm>
                    <a:off x="4346051" y="260025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2" name="Oval 461">
                    <a:extLst>
                      <a:ext uri="{FF2B5EF4-FFF2-40B4-BE49-F238E27FC236}">
                        <a16:creationId xmlns:a16="http://schemas.microsoft.com/office/drawing/2014/main" id="{8C0D618B-4376-4EA5-A2E5-EFF9AC7C53C0}"/>
                      </a:ext>
                    </a:extLst>
                  </p:cNvPr>
                  <p:cNvSpPr/>
                  <p:nvPr/>
                </p:nvSpPr>
                <p:spPr bwMode="auto">
                  <a:xfrm>
                    <a:off x="3583433" y="23416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3" name="Oval 462">
                    <a:extLst>
                      <a:ext uri="{FF2B5EF4-FFF2-40B4-BE49-F238E27FC236}">
                        <a16:creationId xmlns:a16="http://schemas.microsoft.com/office/drawing/2014/main" id="{92F5E54F-8871-4267-8064-B7DA7386864A}"/>
                      </a:ext>
                    </a:extLst>
                  </p:cNvPr>
                  <p:cNvSpPr/>
                  <p:nvPr/>
                </p:nvSpPr>
                <p:spPr bwMode="auto">
                  <a:xfrm>
                    <a:off x="4574098" y="452655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4" name="Oval 463">
                    <a:extLst>
                      <a:ext uri="{FF2B5EF4-FFF2-40B4-BE49-F238E27FC236}">
                        <a16:creationId xmlns:a16="http://schemas.microsoft.com/office/drawing/2014/main" id="{F72A0FA1-0672-4B84-9455-D9D6218601F7}"/>
                      </a:ext>
                    </a:extLst>
                  </p:cNvPr>
                  <p:cNvSpPr/>
                  <p:nvPr/>
                </p:nvSpPr>
                <p:spPr bwMode="auto">
                  <a:xfrm>
                    <a:off x="4639374" y="473578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5" name="Oval 464">
                    <a:extLst>
                      <a:ext uri="{FF2B5EF4-FFF2-40B4-BE49-F238E27FC236}">
                        <a16:creationId xmlns:a16="http://schemas.microsoft.com/office/drawing/2014/main" id="{3CF5D1F0-E1E3-40C6-9605-D0DF3EA80A2B}"/>
                      </a:ext>
                    </a:extLst>
                  </p:cNvPr>
                  <p:cNvSpPr/>
                  <p:nvPr/>
                </p:nvSpPr>
                <p:spPr bwMode="auto">
                  <a:xfrm>
                    <a:off x="2632958" y="276333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6" name="Oval 465">
                    <a:extLst>
                      <a:ext uri="{FF2B5EF4-FFF2-40B4-BE49-F238E27FC236}">
                        <a16:creationId xmlns:a16="http://schemas.microsoft.com/office/drawing/2014/main" id="{B7EC63B8-0FE4-47B9-B31E-693FA14BAD23}"/>
                      </a:ext>
                    </a:extLst>
                  </p:cNvPr>
                  <p:cNvSpPr/>
                  <p:nvPr/>
                </p:nvSpPr>
                <p:spPr bwMode="auto">
                  <a:xfrm>
                    <a:off x="4895760" y="362755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pic>
            <p:nvPicPr>
              <p:cNvPr id="373" name="Picture 372">
                <a:extLst>
                  <a:ext uri="{FF2B5EF4-FFF2-40B4-BE49-F238E27FC236}">
                    <a16:creationId xmlns:a16="http://schemas.microsoft.com/office/drawing/2014/main" id="{E1391F2E-E328-4640-A147-F0D47353DBB2}"/>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1413" y="2677023"/>
                <a:ext cx="639243" cy="487041"/>
              </a:xfrm>
              <a:prstGeom prst="rect">
                <a:avLst/>
              </a:prstGeom>
            </p:spPr>
          </p:pic>
          <p:pic>
            <p:nvPicPr>
              <p:cNvPr id="374" name="Picture 2" descr="Image result for oracle">
                <a:extLst>
                  <a:ext uri="{FF2B5EF4-FFF2-40B4-BE49-F238E27FC236}">
                    <a16:creationId xmlns:a16="http://schemas.microsoft.com/office/drawing/2014/main" id="{DF8F4FCC-E0A8-4597-BAFB-7A356F66667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309714" y="3166305"/>
                <a:ext cx="896425" cy="214200"/>
              </a:xfrm>
              <a:prstGeom prst="rect">
                <a:avLst/>
              </a:prstGeom>
              <a:noFill/>
              <a:extLst>
                <a:ext uri="{909E8E84-426E-40DD-AFC4-6F175D3DCCD1}">
                  <a14:hiddenFill xmlns:a14="http://schemas.microsoft.com/office/drawing/2010/main">
                    <a:solidFill>
                      <a:srgbClr val="FFFFFF"/>
                    </a:solidFill>
                  </a14:hiddenFill>
                </a:ext>
              </a:extLst>
            </p:spPr>
          </p:pic>
          <p:pic>
            <p:nvPicPr>
              <p:cNvPr id="375" name="Picture 4" descr="Image result for sap">
                <a:extLst>
                  <a:ext uri="{FF2B5EF4-FFF2-40B4-BE49-F238E27FC236}">
                    <a16:creationId xmlns:a16="http://schemas.microsoft.com/office/drawing/2014/main" id="{CBD9A6B8-3F53-4D69-8635-DFEDA9715D4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785561" y="4154910"/>
                <a:ext cx="703081" cy="35857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61" name="Oval 160">
            <a:extLst>
              <a:ext uri="{FF2B5EF4-FFF2-40B4-BE49-F238E27FC236}">
                <a16:creationId xmlns:a16="http://schemas.microsoft.com/office/drawing/2014/main" id="{D3DFB530-7642-44EA-89C0-1203CDF57260}"/>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2" name="Oval 161">
            <a:extLst>
              <a:ext uri="{FF2B5EF4-FFF2-40B4-BE49-F238E27FC236}">
                <a16:creationId xmlns:a16="http://schemas.microsoft.com/office/drawing/2014/main" id="{41216A59-4FA6-4C68-9805-73201E79B96F}"/>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3" name="Oval 162">
            <a:extLst>
              <a:ext uri="{FF2B5EF4-FFF2-40B4-BE49-F238E27FC236}">
                <a16:creationId xmlns:a16="http://schemas.microsoft.com/office/drawing/2014/main" id="{73F50AF3-139E-41CC-B4B2-CD690C8BD32E}"/>
              </a:ext>
            </a:extLst>
          </p:cNvPr>
          <p:cNvSpPr/>
          <p:nvPr/>
        </p:nvSpPr>
        <p:spPr bwMode="auto">
          <a:xfrm>
            <a:off x="140307" y="1941603"/>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4" name="Oval 163">
            <a:extLst>
              <a:ext uri="{FF2B5EF4-FFF2-40B4-BE49-F238E27FC236}">
                <a16:creationId xmlns:a16="http://schemas.microsoft.com/office/drawing/2014/main" id="{4ED1CA0A-D783-4D59-948D-A8B99D082527}"/>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5" name="Oval 164">
            <a:extLst>
              <a:ext uri="{FF2B5EF4-FFF2-40B4-BE49-F238E27FC236}">
                <a16:creationId xmlns:a16="http://schemas.microsoft.com/office/drawing/2014/main" id="{ACDB877A-955C-4995-BE7E-A6B346698105}"/>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6" name="Oval 165">
            <a:extLst>
              <a:ext uri="{FF2B5EF4-FFF2-40B4-BE49-F238E27FC236}">
                <a16:creationId xmlns:a16="http://schemas.microsoft.com/office/drawing/2014/main" id="{7200000D-113B-47D2-ACC3-2F83348E7A5E}"/>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7" name="Freeform 83">
            <a:extLst>
              <a:ext uri="{FF2B5EF4-FFF2-40B4-BE49-F238E27FC236}">
                <a16:creationId xmlns:a16="http://schemas.microsoft.com/office/drawing/2014/main" id="{AD8D6A87-CED7-4A5C-90FD-B135123894A1}"/>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168" name="Group 167">
            <a:extLst>
              <a:ext uri="{FF2B5EF4-FFF2-40B4-BE49-F238E27FC236}">
                <a16:creationId xmlns:a16="http://schemas.microsoft.com/office/drawing/2014/main" id="{4DB6D228-120B-4D9E-923C-3146AB6DEE23}"/>
              </a:ext>
            </a:extLst>
          </p:cNvPr>
          <p:cNvGrpSpPr/>
          <p:nvPr/>
        </p:nvGrpSpPr>
        <p:grpSpPr>
          <a:xfrm>
            <a:off x="998322" y="2766492"/>
            <a:ext cx="539871" cy="398857"/>
            <a:chOff x="-952377" y="6149211"/>
            <a:chExt cx="1301342" cy="940471"/>
          </a:xfrm>
        </p:grpSpPr>
        <p:sp>
          <p:nvSpPr>
            <p:cNvPr id="169" name="Rectangle 168">
              <a:extLst>
                <a:ext uri="{FF2B5EF4-FFF2-40B4-BE49-F238E27FC236}">
                  <a16:creationId xmlns:a16="http://schemas.microsoft.com/office/drawing/2014/main" id="{7E7B3451-CC4D-418D-8A86-38F7BD7A3D8A}"/>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0" name="Straight Connector 169">
              <a:extLst>
                <a:ext uri="{FF2B5EF4-FFF2-40B4-BE49-F238E27FC236}">
                  <a16:creationId xmlns:a16="http://schemas.microsoft.com/office/drawing/2014/main" id="{7622E0A5-A489-4111-83D2-BC6345FD17F4}"/>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171" name="Rectangle 170">
              <a:extLst>
                <a:ext uri="{FF2B5EF4-FFF2-40B4-BE49-F238E27FC236}">
                  <a16:creationId xmlns:a16="http://schemas.microsoft.com/office/drawing/2014/main" id="{9044018E-2FA1-4106-A6F9-38D746BDAE41}"/>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2" name="Straight Connector 171">
              <a:extLst>
                <a:ext uri="{FF2B5EF4-FFF2-40B4-BE49-F238E27FC236}">
                  <a16:creationId xmlns:a16="http://schemas.microsoft.com/office/drawing/2014/main" id="{AD663402-9652-4FD5-8D58-95B107640A4E}"/>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173" name="Rectangle 172">
              <a:extLst>
                <a:ext uri="{FF2B5EF4-FFF2-40B4-BE49-F238E27FC236}">
                  <a16:creationId xmlns:a16="http://schemas.microsoft.com/office/drawing/2014/main" id="{76BBA9B7-E89D-4937-9301-1F0B1B41C364}"/>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4" name="Straight Connector 173">
              <a:extLst>
                <a:ext uri="{FF2B5EF4-FFF2-40B4-BE49-F238E27FC236}">
                  <a16:creationId xmlns:a16="http://schemas.microsoft.com/office/drawing/2014/main" id="{AEC6E72D-4EEE-49E4-BF1E-883858C75029}"/>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175" name="Rectangle 174">
              <a:extLst>
                <a:ext uri="{FF2B5EF4-FFF2-40B4-BE49-F238E27FC236}">
                  <a16:creationId xmlns:a16="http://schemas.microsoft.com/office/drawing/2014/main" id="{57997452-4143-45E4-98E6-18E89EF28306}"/>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AE0EF067-32E3-4FA2-997E-C8059B34F11D}"/>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Oval 176">
              <a:extLst>
                <a:ext uri="{FF2B5EF4-FFF2-40B4-BE49-F238E27FC236}">
                  <a16:creationId xmlns:a16="http://schemas.microsoft.com/office/drawing/2014/main" id="{0B4EDB53-1324-4E73-833E-75A7BDFD886A}"/>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Rectangle 177">
              <a:extLst>
                <a:ext uri="{FF2B5EF4-FFF2-40B4-BE49-F238E27FC236}">
                  <a16:creationId xmlns:a16="http://schemas.microsoft.com/office/drawing/2014/main" id="{73A1338F-1FB5-491C-B97D-F742EDD51842}"/>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Oval 178">
              <a:extLst>
                <a:ext uri="{FF2B5EF4-FFF2-40B4-BE49-F238E27FC236}">
                  <a16:creationId xmlns:a16="http://schemas.microsoft.com/office/drawing/2014/main" id="{CF4E205A-14AB-439F-8F40-866F718A6826}"/>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Oval 179">
              <a:extLst>
                <a:ext uri="{FF2B5EF4-FFF2-40B4-BE49-F238E27FC236}">
                  <a16:creationId xmlns:a16="http://schemas.microsoft.com/office/drawing/2014/main" id="{698D1C90-540D-4191-837B-4DED3C761BD6}"/>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81" name="Freeform 45">
            <a:extLst>
              <a:ext uri="{FF2B5EF4-FFF2-40B4-BE49-F238E27FC236}">
                <a16:creationId xmlns:a16="http://schemas.microsoft.com/office/drawing/2014/main" id="{789455D0-8E6A-4F7F-B493-898FFD0B89B1}"/>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grpSp>
        <p:nvGrpSpPr>
          <p:cNvPr id="182" name="Group 181">
            <a:extLst>
              <a:ext uri="{FF2B5EF4-FFF2-40B4-BE49-F238E27FC236}">
                <a16:creationId xmlns:a16="http://schemas.microsoft.com/office/drawing/2014/main" id="{1470D065-B0E7-4C11-B237-52327DE0E43D}"/>
              </a:ext>
            </a:extLst>
          </p:cNvPr>
          <p:cNvGrpSpPr/>
          <p:nvPr/>
        </p:nvGrpSpPr>
        <p:grpSpPr>
          <a:xfrm>
            <a:off x="201547" y="5164886"/>
            <a:ext cx="640369" cy="669897"/>
            <a:chOff x="3519895" y="5477353"/>
            <a:chExt cx="836008" cy="967652"/>
          </a:xfrm>
        </p:grpSpPr>
        <p:pic>
          <p:nvPicPr>
            <p:cNvPr id="183" name="Graphic 182" descr="Laptop">
              <a:extLst>
                <a:ext uri="{FF2B5EF4-FFF2-40B4-BE49-F238E27FC236}">
                  <a16:creationId xmlns:a16="http://schemas.microsoft.com/office/drawing/2014/main" id="{40C31028-82BE-4309-966F-5C6900BA985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43588" y="5477353"/>
              <a:ext cx="449620" cy="449620"/>
            </a:xfrm>
            <a:prstGeom prst="rect">
              <a:avLst/>
            </a:prstGeom>
          </p:spPr>
        </p:pic>
        <p:pic>
          <p:nvPicPr>
            <p:cNvPr id="184" name="Graphic 183" descr="Smart Phone">
              <a:extLst>
                <a:ext uri="{FF2B5EF4-FFF2-40B4-BE49-F238E27FC236}">
                  <a16:creationId xmlns:a16="http://schemas.microsoft.com/office/drawing/2014/main" id="{29E79F7C-95BE-4E3A-82C6-DFAC4A9761B6}"/>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039086" y="5883028"/>
              <a:ext cx="316817" cy="316817"/>
            </a:xfrm>
            <a:prstGeom prst="rect">
              <a:avLst/>
            </a:prstGeom>
          </p:spPr>
        </p:pic>
        <p:pic>
          <p:nvPicPr>
            <p:cNvPr id="185" name="Graphic 184" descr="Tablet">
              <a:extLst>
                <a:ext uri="{FF2B5EF4-FFF2-40B4-BE49-F238E27FC236}">
                  <a16:creationId xmlns:a16="http://schemas.microsoft.com/office/drawing/2014/main" id="{F0678D15-1246-4284-A372-1D8B8E5154C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519895" y="5778197"/>
              <a:ext cx="347308" cy="347308"/>
            </a:xfrm>
            <a:prstGeom prst="rect">
              <a:avLst/>
            </a:prstGeom>
          </p:spPr>
        </p:pic>
        <p:pic>
          <p:nvPicPr>
            <p:cNvPr id="186" name="Graphic 185" descr="Monitor">
              <a:extLst>
                <a:ext uri="{FF2B5EF4-FFF2-40B4-BE49-F238E27FC236}">
                  <a16:creationId xmlns:a16="http://schemas.microsoft.com/office/drawing/2014/main" id="{183A5E92-C941-40AD-973C-2D5F106AF1EB}"/>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94746" y="6011420"/>
              <a:ext cx="433585" cy="433585"/>
            </a:xfrm>
            <a:prstGeom prst="rect">
              <a:avLst/>
            </a:prstGeom>
          </p:spPr>
        </p:pic>
      </p:grpSp>
      <p:pic>
        <p:nvPicPr>
          <p:cNvPr id="187" name="Graphic 186" descr="Bar chart">
            <a:extLst>
              <a:ext uri="{FF2B5EF4-FFF2-40B4-BE49-F238E27FC236}">
                <a16:creationId xmlns:a16="http://schemas.microsoft.com/office/drawing/2014/main" id="{4D62DA07-8FE7-4DF1-990D-C4B26B3AE7FA}"/>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80861" y="5577794"/>
            <a:ext cx="173683" cy="173683"/>
          </a:xfrm>
          <a:prstGeom prst="rect">
            <a:avLst/>
          </a:prstGeom>
        </p:spPr>
      </p:pic>
      <p:pic>
        <p:nvPicPr>
          <p:cNvPr id="188" name="Graphic 187" descr="Bar chart">
            <a:extLst>
              <a:ext uri="{FF2B5EF4-FFF2-40B4-BE49-F238E27FC236}">
                <a16:creationId xmlns:a16="http://schemas.microsoft.com/office/drawing/2014/main" id="{EFABDEC6-C9C0-41E0-821B-90808A21F873}"/>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45552" y="5231190"/>
            <a:ext cx="143880" cy="143880"/>
          </a:xfrm>
          <a:prstGeom prst="rect">
            <a:avLst/>
          </a:prstGeom>
        </p:spPr>
      </p:pic>
      <p:pic>
        <p:nvPicPr>
          <p:cNvPr id="189" name="Graphic 188" descr="Bar chart">
            <a:extLst>
              <a:ext uri="{FF2B5EF4-FFF2-40B4-BE49-F238E27FC236}">
                <a16:creationId xmlns:a16="http://schemas.microsoft.com/office/drawing/2014/main" id="{F5E7BB7C-A2AC-4720-835F-01480F36273F}"/>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45223" y="5431145"/>
            <a:ext cx="133048" cy="133048"/>
          </a:xfrm>
          <a:prstGeom prst="rect">
            <a:avLst/>
          </a:prstGeom>
        </p:spPr>
      </p:pic>
      <p:pic>
        <p:nvPicPr>
          <p:cNvPr id="190" name="Graphic 189" descr="Bar chart">
            <a:extLst>
              <a:ext uri="{FF2B5EF4-FFF2-40B4-BE49-F238E27FC236}">
                <a16:creationId xmlns:a16="http://schemas.microsoft.com/office/drawing/2014/main" id="{BC94FC02-831A-4119-959A-72C7BC5A3FDF}"/>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71400" y="5490087"/>
            <a:ext cx="86866" cy="143880"/>
          </a:xfrm>
          <a:prstGeom prst="rect">
            <a:avLst/>
          </a:prstGeom>
        </p:spPr>
      </p:pic>
      <p:sp>
        <p:nvSpPr>
          <p:cNvPr id="191" name="Freeform 25">
            <a:extLst>
              <a:ext uri="{FF2B5EF4-FFF2-40B4-BE49-F238E27FC236}">
                <a16:creationId xmlns:a16="http://schemas.microsoft.com/office/drawing/2014/main" id="{F545CB24-0BD4-4473-BB9A-5FCCE813AF52}"/>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9550107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61D52-2ACC-420F-93FE-55821A341D88}"/>
              </a:ext>
            </a:extLst>
          </p:cNvPr>
          <p:cNvSpPr>
            <a:spLocks noGrp="1"/>
          </p:cNvSpPr>
          <p:nvPr>
            <p:ph type="title"/>
          </p:nvPr>
        </p:nvSpPr>
        <p:spPr/>
        <p:txBody>
          <a:bodyPr/>
          <a:lstStyle/>
          <a:p>
            <a:r>
              <a:rPr lang="en-US" dirty="0"/>
              <a:t>Power BI Desktop Data sources</a:t>
            </a:r>
            <a:br>
              <a:rPr lang="en-US" dirty="0"/>
            </a:br>
            <a:r>
              <a:rPr lang="en-US" sz="2745" dirty="0">
                <a:solidFill>
                  <a:srgbClr val="0070C0"/>
                </a:solidFill>
              </a:rPr>
              <a:t>Over 80+ data sources and growing</a:t>
            </a:r>
            <a:endParaRPr lang="en-US" dirty="0">
              <a:solidFill>
                <a:srgbClr val="0070C0"/>
              </a:solidFill>
            </a:endParaRPr>
          </a:p>
        </p:txBody>
      </p:sp>
      <p:cxnSp>
        <p:nvCxnSpPr>
          <p:cNvPr id="16" name="Straight Connector 15">
            <a:extLst>
              <a:ext uri="{FF2B5EF4-FFF2-40B4-BE49-F238E27FC236}">
                <a16:creationId xmlns:a16="http://schemas.microsoft.com/office/drawing/2014/main" id="{43039A30-B5F1-43B9-8715-B133C02A3A6E}"/>
              </a:ext>
            </a:extLst>
          </p:cNvPr>
          <p:cNvCxnSpPr>
            <a:cxnSpLocks/>
          </p:cNvCxnSpPr>
          <p:nvPr/>
        </p:nvCxnSpPr>
        <p:spPr>
          <a:xfrm flipV="1">
            <a:off x="154557" y="1966307"/>
            <a:ext cx="1339486"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B324CC-563E-4EC7-B59C-13F9DEE69082}"/>
              </a:ext>
            </a:extLst>
          </p:cNvPr>
          <p:cNvCxnSpPr>
            <a:cxnSpLocks/>
          </p:cNvCxnSpPr>
          <p:nvPr/>
        </p:nvCxnSpPr>
        <p:spPr>
          <a:xfrm>
            <a:off x="1700114" y="1966307"/>
            <a:ext cx="201168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B228F73-A450-4A1D-8907-CDDC8CDAEF90}"/>
              </a:ext>
            </a:extLst>
          </p:cNvPr>
          <p:cNvCxnSpPr>
            <a:cxnSpLocks/>
          </p:cNvCxnSpPr>
          <p:nvPr/>
        </p:nvCxnSpPr>
        <p:spPr>
          <a:xfrm>
            <a:off x="3920667" y="1966312"/>
            <a:ext cx="210312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D5E6D2-81A0-4177-BAC9-16230064335C}"/>
              </a:ext>
            </a:extLst>
          </p:cNvPr>
          <p:cNvCxnSpPr>
            <a:cxnSpLocks/>
          </p:cNvCxnSpPr>
          <p:nvPr/>
        </p:nvCxnSpPr>
        <p:spPr>
          <a:xfrm>
            <a:off x="6262576" y="1971470"/>
            <a:ext cx="210312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787F8B-5CE7-430E-88A9-B276B71F7677}"/>
              </a:ext>
            </a:extLst>
          </p:cNvPr>
          <p:cNvCxnSpPr>
            <a:cxnSpLocks/>
          </p:cNvCxnSpPr>
          <p:nvPr/>
        </p:nvCxnSpPr>
        <p:spPr>
          <a:xfrm>
            <a:off x="8598355" y="1966307"/>
            <a:ext cx="1622817"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52390C3-18A4-41F4-81E1-EC763E481E58}"/>
              </a:ext>
            </a:extLst>
          </p:cNvPr>
          <p:cNvCxnSpPr>
            <a:cxnSpLocks/>
          </p:cNvCxnSpPr>
          <p:nvPr/>
        </p:nvCxnSpPr>
        <p:spPr>
          <a:xfrm>
            <a:off x="10569855" y="1971472"/>
            <a:ext cx="1396168"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A21154F-D3EE-41E2-AF58-5C0D63833E9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4557" y="2147956"/>
            <a:ext cx="1306443" cy="1943719"/>
          </a:xfrm>
          <a:prstGeom prst="rect">
            <a:avLst/>
          </a:prstGeom>
        </p:spPr>
      </p:pic>
      <p:pic>
        <p:nvPicPr>
          <p:cNvPr id="30" name="Picture 29">
            <a:extLst>
              <a:ext uri="{FF2B5EF4-FFF2-40B4-BE49-F238E27FC236}">
                <a16:creationId xmlns:a16="http://schemas.microsoft.com/office/drawing/2014/main" id="{6C5CFBCC-8C8A-4ECC-9856-283113DC2E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0279" y="2165752"/>
            <a:ext cx="2079890" cy="2157184"/>
          </a:xfrm>
          <a:prstGeom prst="rect">
            <a:avLst/>
          </a:prstGeom>
        </p:spPr>
      </p:pic>
      <p:pic>
        <p:nvPicPr>
          <p:cNvPr id="31" name="Picture 30">
            <a:extLst>
              <a:ext uri="{FF2B5EF4-FFF2-40B4-BE49-F238E27FC236}">
                <a16:creationId xmlns:a16="http://schemas.microsoft.com/office/drawing/2014/main" id="{214BDF50-CC64-42D5-891C-82C5E4D7D0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62576" y="2139560"/>
            <a:ext cx="2125051" cy="3525810"/>
          </a:xfrm>
          <a:prstGeom prst="rect">
            <a:avLst/>
          </a:prstGeom>
        </p:spPr>
      </p:pic>
      <p:pic>
        <p:nvPicPr>
          <p:cNvPr id="32" name="Picture 31">
            <a:extLst>
              <a:ext uri="{FF2B5EF4-FFF2-40B4-BE49-F238E27FC236}">
                <a16:creationId xmlns:a16="http://schemas.microsoft.com/office/drawing/2014/main" id="{A21295B8-9A36-4763-8EED-BFE96D27B5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98355" y="2165752"/>
            <a:ext cx="1765977" cy="3936033"/>
          </a:xfrm>
          <a:prstGeom prst="rect">
            <a:avLst/>
          </a:prstGeom>
        </p:spPr>
      </p:pic>
      <p:pic>
        <p:nvPicPr>
          <p:cNvPr id="33" name="Picture 32">
            <a:extLst>
              <a:ext uri="{FF2B5EF4-FFF2-40B4-BE49-F238E27FC236}">
                <a16:creationId xmlns:a16="http://schemas.microsoft.com/office/drawing/2014/main" id="{8B78BC22-25FC-46B2-B045-632971E00C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1034" y="2165752"/>
            <a:ext cx="1424989" cy="3347068"/>
          </a:xfrm>
          <a:prstGeom prst="rect">
            <a:avLst/>
          </a:prstGeom>
        </p:spPr>
      </p:pic>
      <p:grpSp>
        <p:nvGrpSpPr>
          <p:cNvPr id="34" name="Group 33">
            <a:extLst>
              <a:ext uri="{FF2B5EF4-FFF2-40B4-BE49-F238E27FC236}">
                <a16:creationId xmlns:a16="http://schemas.microsoft.com/office/drawing/2014/main" id="{A3EFD331-DC7B-4608-869F-4D979306B754}"/>
              </a:ext>
            </a:extLst>
          </p:cNvPr>
          <p:cNvGrpSpPr/>
          <p:nvPr/>
        </p:nvGrpSpPr>
        <p:grpSpPr>
          <a:xfrm>
            <a:off x="1649367" y="2181090"/>
            <a:ext cx="2101766" cy="3420343"/>
            <a:chOff x="1669207" y="2471795"/>
            <a:chExt cx="2060742" cy="3353582"/>
          </a:xfrm>
        </p:grpSpPr>
        <p:pic>
          <p:nvPicPr>
            <p:cNvPr id="35" name="Picture 34">
              <a:extLst>
                <a:ext uri="{FF2B5EF4-FFF2-40B4-BE49-F238E27FC236}">
                  <a16:creationId xmlns:a16="http://schemas.microsoft.com/office/drawing/2014/main" id="{9BADD926-2C6B-4D66-ADA2-DC0BD8F780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69207" y="2471795"/>
              <a:ext cx="2060742" cy="3168006"/>
            </a:xfrm>
            <a:prstGeom prst="rect">
              <a:avLst/>
            </a:prstGeom>
          </p:spPr>
        </p:pic>
        <p:pic>
          <p:nvPicPr>
            <p:cNvPr id="36" name="Picture 35">
              <a:extLst>
                <a:ext uri="{FF2B5EF4-FFF2-40B4-BE49-F238E27FC236}">
                  <a16:creationId xmlns:a16="http://schemas.microsoft.com/office/drawing/2014/main" id="{7795FEE5-CD86-4EF6-8BD5-0A2390E28BF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04444" y="5622867"/>
              <a:ext cx="776288" cy="202510"/>
            </a:xfrm>
            <a:prstGeom prst="rect">
              <a:avLst/>
            </a:prstGeom>
          </p:spPr>
        </p:pic>
      </p:grpSp>
    </p:spTree>
    <p:extLst>
      <p:ext uri="{BB962C8B-B14F-4D97-AF65-F5344CB8AC3E}">
        <p14:creationId xmlns:p14="http://schemas.microsoft.com/office/powerpoint/2010/main" val="5044677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0657"/>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nalyze: </a:t>
            </a:r>
            <a:r>
              <a:rPr kumimoji="0" lang="en-US" sz="36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Build powerful models and flexible measures</a:t>
            </a:r>
          </a:p>
        </p:txBody>
      </p:sp>
      <p:sp>
        <p:nvSpPr>
          <p:cNvPr id="18" name="Rectangle 17">
            <a:extLst>
              <a:ext uri="{FF2B5EF4-FFF2-40B4-BE49-F238E27FC236}">
                <a16:creationId xmlns:a16="http://schemas.microsoft.com/office/drawing/2014/main" id="{74174989-0135-4753-B014-ECA20B7BE884}"/>
              </a:ext>
            </a:extLst>
          </p:cNvPr>
          <p:cNvSpPr/>
          <p:nvPr/>
        </p:nvSpPr>
        <p:spPr>
          <a:xfrm>
            <a:off x="2194560" y="1874520"/>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utomatically created model when connecting to data</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High-performance, in-memory engin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oint and click analysis with Quick Measures, Clustering and Binning</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reate powerful measures with familiar DAX formulas</a:t>
            </a:r>
          </a:p>
        </p:txBody>
      </p:sp>
      <p:grpSp>
        <p:nvGrpSpPr>
          <p:cNvPr id="4" name="Group 3">
            <a:extLst>
              <a:ext uri="{FF2B5EF4-FFF2-40B4-BE49-F238E27FC236}">
                <a16:creationId xmlns:a16="http://schemas.microsoft.com/office/drawing/2014/main" id="{5C54C455-62B9-4EE1-B5B7-63C66FE46950}"/>
              </a:ext>
            </a:extLst>
          </p:cNvPr>
          <p:cNvGrpSpPr/>
          <p:nvPr/>
        </p:nvGrpSpPr>
        <p:grpSpPr>
          <a:xfrm>
            <a:off x="7132320" y="1645920"/>
            <a:ext cx="7031501" cy="4546355"/>
            <a:chOff x="6737920" y="1622433"/>
            <a:chExt cx="7031501" cy="4546355"/>
          </a:xfrm>
        </p:grpSpPr>
        <p:pic>
          <p:nvPicPr>
            <p:cNvPr id="22" name="Picture 21" descr="A screenshot of a computer screen&#10;&#10;Description generated with very high confidence">
              <a:extLst>
                <a:ext uri="{FF2B5EF4-FFF2-40B4-BE49-F238E27FC236}">
                  <a16:creationId xmlns:a16="http://schemas.microsoft.com/office/drawing/2014/main" id="{4602795B-9B92-4F38-8AFE-4582E73F05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149" name="Picture 148">
              <a:extLst>
                <a:ext uri="{FF2B5EF4-FFF2-40B4-BE49-F238E27FC236}">
                  <a16:creationId xmlns:a16="http://schemas.microsoft.com/office/drawing/2014/main" id="{2749C737-67E4-42AD-9966-4C705A8A5DA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659489" y="2271689"/>
              <a:ext cx="5190040" cy="3165284"/>
            </a:xfrm>
            <a:prstGeom prst="rect">
              <a:avLst/>
            </a:prstGeom>
            <a:effectLst>
              <a:innerShdw blurRad="114300">
                <a:prstClr val="black"/>
              </a:innerShdw>
            </a:effectLst>
          </p:spPr>
        </p:pic>
      </p:grpSp>
      <p:sp>
        <p:nvSpPr>
          <p:cNvPr id="64" name="Oval 63">
            <a:extLst>
              <a:ext uri="{FF2B5EF4-FFF2-40B4-BE49-F238E27FC236}">
                <a16:creationId xmlns:a16="http://schemas.microsoft.com/office/drawing/2014/main" id="{AE63DEAA-F578-4F70-8F07-CCA83F84DA30}"/>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5" name="Oval 64">
            <a:extLst>
              <a:ext uri="{FF2B5EF4-FFF2-40B4-BE49-F238E27FC236}">
                <a16:creationId xmlns:a16="http://schemas.microsoft.com/office/drawing/2014/main" id="{41F78489-2130-4251-AC41-6E6A3E6EE99C}"/>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A53CEBBA-53E7-462B-B10F-51FFCB4CB236}"/>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48C9158F-7F46-4337-9708-4BEA3A3CB7E3}"/>
              </a:ext>
            </a:extLst>
          </p:cNvPr>
          <p:cNvSpPr/>
          <p:nvPr/>
        </p:nvSpPr>
        <p:spPr bwMode="auto">
          <a:xfrm>
            <a:off x="872944" y="2573407"/>
            <a:ext cx="732636" cy="730657"/>
          </a:xfrm>
          <a:prstGeom prst="ellipse">
            <a:avLst/>
          </a:prstGeom>
          <a:solidFill>
            <a:srgbClr val="FFFFFF">
              <a:lumMod val="95000"/>
            </a:srgbClr>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Oval 67">
            <a:extLst>
              <a:ext uri="{FF2B5EF4-FFF2-40B4-BE49-F238E27FC236}">
                <a16:creationId xmlns:a16="http://schemas.microsoft.com/office/drawing/2014/main" id="{7A8365BA-ED55-4B66-B5C1-42F8A381BDB4}"/>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9" name="Freeform 83">
            <a:extLst>
              <a:ext uri="{FF2B5EF4-FFF2-40B4-BE49-F238E27FC236}">
                <a16:creationId xmlns:a16="http://schemas.microsoft.com/office/drawing/2014/main" id="{E07769D9-E795-4F6B-A547-FAC4B7147C8F}"/>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70" name="Group 69">
            <a:extLst>
              <a:ext uri="{FF2B5EF4-FFF2-40B4-BE49-F238E27FC236}">
                <a16:creationId xmlns:a16="http://schemas.microsoft.com/office/drawing/2014/main" id="{DF856A07-4D00-4076-9F47-80C1E4BB5349}"/>
              </a:ext>
            </a:extLst>
          </p:cNvPr>
          <p:cNvGrpSpPr/>
          <p:nvPr/>
        </p:nvGrpSpPr>
        <p:grpSpPr>
          <a:xfrm>
            <a:off x="998322" y="2766492"/>
            <a:ext cx="539871" cy="398857"/>
            <a:chOff x="-952377" y="6149211"/>
            <a:chExt cx="1301342" cy="940471"/>
          </a:xfrm>
        </p:grpSpPr>
        <p:sp>
          <p:nvSpPr>
            <p:cNvPr id="71" name="Rectangle 70">
              <a:extLst>
                <a:ext uri="{FF2B5EF4-FFF2-40B4-BE49-F238E27FC236}">
                  <a16:creationId xmlns:a16="http://schemas.microsoft.com/office/drawing/2014/main" id="{FF6C0BE8-C65F-4929-A92B-6DFDF340777D}"/>
                </a:ext>
              </a:extLst>
            </p:cNvPr>
            <p:cNvSpPr/>
            <p:nvPr/>
          </p:nvSpPr>
          <p:spPr bwMode="auto">
            <a:xfrm>
              <a:off x="-952377" y="6149211"/>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13DCFB8D-D85E-44F7-B31F-03161B71BFD0}"/>
                </a:ext>
              </a:extLst>
            </p:cNvPr>
            <p:cNvCxnSpPr/>
            <p:nvPr/>
          </p:nvCxnSpPr>
          <p:spPr>
            <a:xfrm flipH="1">
              <a:off x="-941546" y="6183363"/>
              <a:ext cx="480781" cy="0"/>
            </a:xfrm>
            <a:prstGeom prst="line">
              <a:avLst/>
            </a:prstGeom>
            <a:noFill/>
            <a:ln w="38100" cap="flat" cmpd="sng" algn="ctr">
              <a:solidFill>
                <a:srgbClr val="353535"/>
              </a:solidFill>
              <a:prstDash val="solid"/>
              <a:headEnd type="none"/>
              <a:tailEnd type="none"/>
            </a:ln>
            <a:effectLst/>
          </p:spPr>
        </p:cxnSp>
        <p:sp>
          <p:nvSpPr>
            <p:cNvPr id="73" name="Rectangle 72">
              <a:extLst>
                <a:ext uri="{FF2B5EF4-FFF2-40B4-BE49-F238E27FC236}">
                  <a16:creationId xmlns:a16="http://schemas.microsoft.com/office/drawing/2014/main" id="{0FC850D6-4C1E-4D63-8638-CC204412CDE6}"/>
                </a:ext>
              </a:extLst>
            </p:cNvPr>
            <p:cNvSpPr/>
            <p:nvPr/>
          </p:nvSpPr>
          <p:spPr bwMode="auto">
            <a:xfrm>
              <a:off x="-142648" y="6396961"/>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82CF3455-B871-4BF4-921F-F62142A801EE}"/>
                </a:ext>
              </a:extLst>
            </p:cNvPr>
            <p:cNvCxnSpPr/>
            <p:nvPr/>
          </p:nvCxnSpPr>
          <p:spPr>
            <a:xfrm flipH="1">
              <a:off x="-131817" y="6431112"/>
              <a:ext cx="480782" cy="0"/>
            </a:xfrm>
            <a:prstGeom prst="line">
              <a:avLst/>
            </a:prstGeom>
            <a:noFill/>
            <a:ln w="38100" cap="flat" cmpd="sng" algn="ctr">
              <a:solidFill>
                <a:srgbClr val="353535"/>
              </a:solidFill>
              <a:prstDash val="solid"/>
              <a:headEnd type="none"/>
              <a:tailEnd type="none"/>
            </a:ln>
            <a:effectLst/>
          </p:spPr>
        </p:cxnSp>
        <p:sp>
          <p:nvSpPr>
            <p:cNvPr id="75" name="Rectangle 74">
              <a:extLst>
                <a:ext uri="{FF2B5EF4-FFF2-40B4-BE49-F238E27FC236}">
                  <a16:creationId xmlns:a16="http://schemas.microsoft.com/office/drawing/2014/main" id="{2827A34F-BC35-4FAF-A062-C88EB6E9F7C4}"/>
                </a:ext>
              </a:extLst>
            </p:cNvPr>
            <p:cNvSpPr/>
            <p:nvPr/>
          </p:nvSpPr>
          <p:spPr bwMode="auto">
            <a:xfrm>
              <a:off x="-849095" y="6730972"/>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3723AE8C-C1DE-471A-B37C-76F26A26FB05}"/>
                </a:ext>
              </a:extLst>
            </p:cNvPr>
            <p:cNvCxnSpPr/>
            <p:nvPr/>
          </p:nvCxnSpPr>
          <p:spPr>
            <a:xfrm flipH="1">
              <a:off x="-838264" y="6765123"/>
              <a:ext cx="480782" cy="0"/>
            </a:xfrm>
            <a:prstGeom prst="line">
              <a:avLst/>
            </a:prstGeom>
            <a:noFill/>
            <a:ln w="38100" cap="flat" cmpd="sng" algn="ctr">
              <a:solidFill>
                <a:srgbClr val="353535"/>
              </a:solidFill>
              <a:prstDash val="solid"/>
              <a:headEnd type="none"/>
              <a:tailEnd type="none"/>
            </a:ln>
            <a:effectLst/>
          </p:spPr>
        </p:cxnSp>
        <p:sp>
          <p:nvSpPr>
            <p:cNvPr id="77" name="Rectangle 76">
              <a:extLst>
                <a:ext uri="{FF2B5EF4-FFF2-40B4-BE49-F238E27FC236}">
                  <a16:creationId xmlns:a16="http://schemas.microsoft.com/office/drawing/2014/main" id="{9C0FA44F-B716-4E76-BE6E-BEF59494768A}"/>
                </a:ext>
              </a:extLst>
            </p:cNvPr>
            <p:cNvSpPr/>
            <p:nvPr/>
          </p:nvSpPr>
          <p:spPr bwMode="auto">
            <a:xfrm rot="20066219">
              <a:off x="-696171" y="6775590"/>
              <a:ext cx="881959" cy="45719"/>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Rectangle 77">
              <a:extLst>
                <a:ext uri="{FF2B5EF4-FFF2-40B4-BE49-F238E27FC236}">
                  <a16:creationId xmlns:a16="http://schemas.microsoft.com/office/drawing/2014/main" id="{2D122CF2-530F-4874-BCF7-83513CB68FBF}"/>
                </a:ext>
              </a:extLst>
            </p:cNvPr>
            <p:cNvSpPr/>
            <p:nvPr/>
          </p:nvSpPr>
          <p:spPr bwMode="auto">
            <a:xfrm rot="1148353">
              <a:off x="-754785" y="6447347"/>
              <a:ext cx="881959" cy="45719"/>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Oval 78">
              <a:extLst>
                <a:ext uri="{FF2B5EF4-FFF2-40B4-BE49-F238E27FC236}">
                  <a16:creationId xmlns:a16="http://schemas.microsoft.com/office/drawing/2014/main" id="{F4C32093-250F-4E2F-AEF4-9D5D26E12876}"/>
                </a:ext>
              </a:extLst>
            </p:cNvPr>
            <p:cNvSpPr/>
            <p:nvPr/>
          </p:nvSpPr>
          <p:spPr bwMode="auto">
            <a:xfrm>
              <a:off x="53536" y="6557068"/>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Rectangle 79">
              <a:extLst>
                <a:ext uri="{FF2B5EF4-FFF2-40B4-BE49-F238E27FC236}">
                  <a16:creationId xmlns:a16="http://schemas.microsoft.com/office/drawing/2014/main" id="{F6D2B906-702C-4D05-A7A4-68780B334642}"/>
                </a:ext>
              </a:extLst>
            </p:cNvPr>
            <p:cNvSpPr/>
            <p:nvPr/>
          </p:nvSpPr>
          <p:spPr bwMode="auto">
            <a:xfrm rot="4927691">
              <a:off x="-958661" y="6649665"/>
              <a:ext cx="635496" cy="45718"/>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0F0517EF-1AE5-442B-B5B3-AB436F9F56C7}"/>
                </a:ext>
              </a:extLst>
            </p:cNvPr>
            <p:cNvSpPr/>
            <p:nvPr/>
          </p:nvSpPr>
          <p:spPr bwMode="auto">
            <a:xfrm>
              <a:off x="-667297" y="6889189"/>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063FCE1A-E5C2-4736-9734-07161623BEE0}"/>
                </a:ext>
              </a:extLst>
            </p:cNvPr>
            <p:cNvSpPr/>
            <p:nvPr/>
          </p:nvSpPr>
          <p:spPr bwMode="auto">
            <a:xfrm>
              <a:off x="-749357" y="6291317"/>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3" name="Freeform 45">
            <a:extLst>
              <a:ext uri="{FF2B5EF4-FFF2-40B4-BE49-F238E27FC236}">
                <a16:creationId xmlns:a16="http://schemas.microsoft.com/office/drawing/2014/main" id="{292264A6-F322-40EF-AC0C-12B21F994694}"/>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84" name="Freeform 25">
            <a:extLst>
              <a:ext uri="{FF2B5EF4-FFF2-40B4-BE49-F238E27FC236}">
                <a16:creationId xmlns:a16="http://schemas.microsoft.com/office/drawing/2014/main" id="{2ACF9EBE-5654-401F-A60B-DFB6FDB0488D}"/>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85" name="Oval 84">
            <a:extLst>
              <a:ext uri="{FF2B5EF4-FFF2-40B4-BE49-F238E27FC236}">
                <a16:creationId xmlns:a16="http://schemas.microsoft.com/office/drawing/2014/main" id="{E8A8681D-1768-4BB3-99EF-A616CDB8A786}"/>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6" name="Group 85">
            <a:extLst>
              <a:ext uri="{FF2B5EF4-FFF2-40B4-BE49-F238E27FC236}">
                <a16:creationId xmlns:a16="http://schemas.microsoft.com/office/drawing/2014/main" id="{53F17A13-7259-4F64-87FC-B0A69FC4B4C5}"/>
              </a:ext>
            </a:extLst>
          </p:cNvPr>
          <p:cNvGrpSpPr/>
          <p:nvPr/>
        </p:nvGrpSpPr>
        <p:grpSpPr>
          <a:xfrm>
            <a:off x="201547" y="5164886"/>
            <a:ext cx="640369" cy="669897"/>
            <a:chOff x="3519895" y="5477353"/>
            <a:chExt cx="836008" cy="967652"/>
          </a:xfrm>
        </p:grpSpPr>
        <p:pic>
          <p:nvPicPr>
            <p:cNvPr id="87" name="Graphic 86" descr="Laptop">
              <a:extLst>
                <a:ext uri="{FF2B5EF4-FFF2-40B4-BE49-F238E27FC236}">
                  <a16:creationId xmlns:a16="http://schemas.microsoft.com/office/drawing/2014/main" id="{0909C506-CAB5-425A-A6BC-63464CE38C1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8" name="Graphic 87" descr="Smart Phone">
              <a:extLst>
                <a:ext uri="{FF2B5EF4-FFF2-40B4-BE49-F238E27FC236}">
                  <a16:creationId xmlns:a16="http://schemas.microsoft.com/office/drawing/2014/main" id="{FCC58F7F-F4D0-45E0-B32F-9DAA19F982B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89" name="Graphic 88" descr="Tablet">
              <a:extLst>
                <a:ext uri="{FF2B5EF4-FFF2-40B4-BE49-F238E27FC236}">
                  <a16:creationId xmlns:a16="http://schemas.microsoft.com/office/drawing/2014/main" id="{8B92B5B1-EF36-4DA2-A809-E933EA4AAE2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0" name="Graphic 89" descr="Monitor">
              <a:extLst>
                <a:ext uri="{FF2B5EF4-FFF2-40B4-BE49-F238E27FC236}">
                  <a16:creationId xmlns:a16="http://schemas.microsoft.com/office/drawing/2014/main" id="{BBA71F9E-E102-4F00-BCA4-9ADF2447AFA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1" name="Graphic 90" descr="Bar chart">
            <a:extLst>
              <a:ext uri="{FF2B5EF4-FFF2-40B4-BE49-F238E27FC236}">
                <a16:creationId xmlns:a16="http://schemas.microsoft.com/office/drawing/2014/main" id="{5707260D-C80B-48F7-8FD8-187AA7B64FB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2" name="Graphic 91" descr="Bar chart">
            <a:extLst>
              <a:ext uri="{FF2B5EF4-FFF2-40B4-BE49-F238E27FC236}">
                <a16:creationId xmlns:a16="http://schemas.microsoft.com/office/drawing/2014/main" id="{1592A1A6-D382-4C91-8603-C68D4EF3F28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3" name="Graphic 92" descr="Bar chart">
            <a:extLst>
              <a:ext uri="{FF2B5EF4-FFF2-40B4-BE49-F238E27FC236}">
                <a16:creationId xmlns:a16="http://schemas.microsoft.com/office/drawing/2014/main" id="{4BFE1AE8-AB74-4F29-953B-04C36806704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4" name="Graphic 93" descr="Bar chart">
            <a:extLst>
              <a:ext uri="{FF2B5EF4-FFF2-40B4-BE49-F238E27FC236}">
                <a16:creationId xmlns:a16="http://schemas.microsoft.com/office/drawing/2014/main" id="{6A18C93D-C4D3-4166-B76C-7D9F8DC5AED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67958151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Visualize: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Create stunning interactive reports</a:t>
            </a:r>
          </a:p>
        </p:txBody>
      </p:sp>
      <p:sp>
        <p:nvSpPr>
          <p:cNvPr id="20" name="Rectangle 19">
            <a:extLst>
              <a:ext uri="{FF2B5EF4-FFF2-40B4-BE49-F238E27FC236}">
                <a16:creationId xmlns:a16="http://schemas.microsoft.com/office/drawing/2014/main" id="{91662ED7-60B4-4020-8205-4F5D7AA10DB8}"/>
              </a:ext>
            </a:extLst>
          </p:cNvPr>
          <p:cNvSpPr/>
          <p:nvPr/>
        </p:nvSpPr>
        <p:spPr>
          <a:xfrm>
            <a:off x="2194560" y="1874520"/>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uthor reports using 150+ visuals via a drag-and-drop canvas </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Explore data across multiple interactive visualization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rovide insights in the context of your business with Custom Visual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 your data story with bookmarks and custom navigation</a:t>
            </a:r>
          </a:p>
        </p:txBody>
      </p:sp>
      <p:grpSp>
        <p:nvGrpSpPr>
          <p:cNvPr id="6" name="Group 5">
            <a:extLst>
              <a:ext uri="{FF2B5EF4-FFF2-40B4-BE49-F238E27FC236}">
                <a16:creationId xmlns:a16="http://schemas.microsoft.com/office/drawing/2014/main" id="{86FC41B2-4169-4B3F-96CC-9949A6C6A877}"/>
              </a:ext>
            </a:extLst>
          </p:cNvPr>
          <p:cNvGrpSpPr/>
          <p:nvPr/>
        </p:nvGrpSpPr>
        <p:grpSpPr>
          <a:xfrm>
            <a:off x="7132320" y="1645920"/>
            <a:ext cx="7031501" cy="4546355"/>
            <a:chOff x="6737920" y="1622433"/>
            <a:chExt cx="7031501" cy="4546355"/>
          </a:xfrm>
        </p:grpSpPr>
        <p:pic>
          <p:nvPicPr>
            <p:cNvPr id="21" name="Picture 20" descr="A screenshot of a computer screen&#10;&#10;Description generated with very high confidence">
              <a:extLst>
                <a:ext uri="{FF2B5EF4-FFF2-40B4-BE49-F238E27FC236}">
                  <a16:creationId xmlns:a16="http://schemas.microsoft.com/office/drawing/2014/main" id="{D09A840C-D185-4F47-9892-22962AD233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C82D90A0-D471-4C78-8EB2-0C9A75AB529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59490" y="2271013"/>
              <a:ext cx="4782265" cy="3188177"/>
            </a:xfrm>
            <a:prstGeom prst="rect">
              <a:avLst/>
            </a:prstGeom>
          </p:spPr>
        </p:pic>
      </p:grpSp>
      <p:sp>
        <p:nvSpPr>
          <p:cNvPr id="65" name="Oval 64">
            <a:extLst>
              <a:ext uri="{FF2B5EF4-FFF2-40B4-BE49-F238E27FC236}">
                <a16:creationId xmlns:a16="http://schemas.microsoft.com/office/drawing/2014/main" id="{770EEA96-3F26-4B7A-8C27-E2FD10429DD3}"/>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113161B6-3A2F-4FD8-B8A3-D33A9252FD98}"/>
              </a:ext>
            </a:extLst>
          </p:cNvPr>
          <p:cNvSpPr/>
          <p:nvPr/>
        </p:nvSpPr>
        <p:spPr bwMode="auto">
          <a:xfrm>
            <a:off x="1100446" y="3494887"/>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498E77DC-14CE-4FFF-BA4A-C99E2C1850C9}"/>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Oval 67">
            <a:extLst>
              <a:ext uri="{FF2B5EF4-FFF2-40B4-BE49-F238E27FC236}">
                <a16:creationId xmlns:a16="http://schemas.microsoft.com/office/drawing/2014/main" id="{0A733F8A-567B-4D94-8210-330DD1673B52}"/>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9" name="Freeform 83">
            <a:extLst>
              <a:ext uri="{FF2B5EF4-FFF2-40B4-BE49-F238E27FC236}">
                <a16:creationId xmlns:a16="http://schemas.microsoft.com/office/drawing/2014/main" id="{DD1454FA-5474-4EE9-BFD3-447DBF1A6B83}"/>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70" name="Freeform 45">
            <a:extLst>
              <a:ext uri="{FF2B5EF4-FFF2-40B4-BE49-F238E27FC236}">
                <a16:creationId xmlns:a16="http://schemas.microsoft.com/office/drawing/2014/main" id="{380ECDF6-52D9-4291-B7F8-C363A1753F67}"/>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71" name="Freeform 25">
            <a:extLst>
              <a:ext uri="{FF2B5EF4-FFF2-40B4-BE49-F238E27FC236}">
                <a16:creationId xmlns:a16="http://schemas.microsoft.com/office/drawing/2014/main" id="{AD179AC4-77DB-48AC-8087-0D9F1E49967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72" name="Oval 71">
            <a:extLst>
              <a:ext uri="{FF2B5EF4-FFF2-40B4-BE49-F238E27FC236}">
                <a16:creationId xmlns:a16="http://schemas.microsoft.com/office/drawing/2014/main" id="{98CDD0A7-D820-4660-B51F-03EFF334DF56}"/>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73" name="Group 72">
            <a:extLst>
              <a:ext uri="{FF2B5EF4-FFF2-40B4-BE49-F238E27FC236}">
                <a16:creationId xmlns:a16="http://schemas.microsoft.com/office/drawing/2014/main" id="{C9743EE9-22C5-4945-9EEA-A87C566C8A75}"/>
              </a:ext>
            </a:extLst>
          </p:cNvPr>
          <p:cNvGrpSpPr/>
          <p:nvPr/>
        </p:nvGrpSpPr>
        <p:grpSpPr>
          <a:xfrm>
            <a:off x="998322" y="2766492"/>
            <a:ext cx="539871" cy="398857"/>
            <a:chOff x="-952377" y="6149211"/>
            <a:chExt cx="1301342" cy="940471"/>
          </a:xfrm>
        </p:grpSpPr>
        <p:sp>
          <p:nvSpPr>
            <p:cNvPr id="74" name="Rectangle 73">
              <a:extLst>
                <a:ext uri="{FF2B5EF4-FFF2-40B4-BE49-F238E27FC236}">
                  <a16:creationId xmlns:a16="http://schemas.microsoft.com/office/drawing/2014/main" id="{35541AAD-034B-4E35-AF31-C0CA6B68E187}"/>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138C7AFC-8B2B-4940-980D-45947FBB0140}"/>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76" name="Rectangle 75">
              <a:extLst>
                <a:ext uri="{FF2B5EF4-FFF2-40B4-BE49-F238E27FC236}">
                  <a16:creationId xmlns:a16="http://schemas.microsoft.com/office/drawing/2014/main" id="{1572572D-667C-408D-9816-77837A9A4C15}"/>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7" name="Straight Connector 76">
              <a:extLst>
                <a:ext uri="{FF2B5EF4-FFF2-40B4-BE49-F238E27FC236}">
                  <a16:creationId xmlns:a16="http://schemas.microsoft.com/office/drawing/2014/main" id="{6084BEDE-6FCB-4B3A-BB8A-E0136189EB21}"/>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78" name="Rectangle 77">
              <a:extLst>
                <a:ext uri="{FF2B5EF4-FFF2-40B4-BE49-F238E27FC236}">
                  <a16:creationId xmlns:a16="http://schemas.microsoft.com/office/drawing/2014/main" id="{23F923FE-A534-4078-B883-F3B7E363062F}"/>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C3E4F841-B97B-40DE-AA1E-1AA1FB9BECC0}"/>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80" name="Rectangle 79">
              <a:extLst>
                <a:ext uri="{FF2B5EF4-FFF2-40B4-BE49-F238E27FC236}">
                  <a16:creationId xmlns:a16="http://schemas.microsoft.com/office/drawing/2014/main" id="{A97221E9-77FF-478A-9DAB-2642BD50BF77}"/>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Rectangle 80">
              <a:extLst>
                <a:ext uri="{FF2B5EF4-FFF2-40B4-BE49-F238E27FC236}">
                  <a16:creationId xmlns:a16="http://schemas.microsoft.com/office/drawing/2014/main" id="{8E5AC9FA-B6C2-45C0-A740-DB084DA77E9C}"/>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8A9D9FF5-25B1-4AFA-A3CA-1A5B0B73EDFC}"/>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Rectangle 82">
              <a:extLst>
                <a:ext uri="{FF2B5EF4-FFF2-40B4-BE49-F238E27FC236}">
                  <a16:creationId xmlns:a16="http://schemas.microsoft.com/office/drawing/2014/main" id="{CB36E1D2-7CE7-4D8E-A198-AF31DAA6BAF5}"/>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21AF30F1-8D41-4ABD-935A-DA170584253F}"/>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Oval 84">
              <a:extLst>
                <a:ext uri="{FF2B5EF4-FFF2-40B4-BE49-F238E27FC236}">
                  <a16:creationId xmlns:a16="http://schemas.microsoft.com/office/drawing/2014/main" id="{1A31F605-5A2D-4555-9013-ABE168042C58}"/>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6" name="Oval 85">
            <a:extLst>
              <a:ext uri="{FF2B5EF4-FFF2-40B4-BE49-F238E27FC236}">
                <a16:creationId xmlns:a16="http://schemas.microsoft.com/office/drawing/2014/main" id="{E1CB6474-9ABE-4970-BA2D-81F042E5F1C4}"/>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7" name="Group 86">
            <a:extLst>
              <a:ext uri="{FF2B5EF4-FFF2-40B4-BE49-F238E27FC236}">
                <a16:creationId xmlns:a16="http://schemas.microsoft.com/office/drawing/2014/main" id="{38EEAD9A-FEF1-4E0C-BB18-7B00CF78EA1C}"/>
              </a:ext>
            </a:extLst>
          </p:cNvPr>
          <p:cNvGrpSpPr/>
          <p:nvPr/>
        </p:nvGrpSpPr>
        <p:grpSpPr>
          <a:xfrm>
            <a:off x="201547" y="5164886"/>
            <a:ext cx="640369" cy="669897"/>
            <a:chOff x="3519895" y="5477353"/>
            <a:chExt cx="836008" cy="967652"/>
          </a:xfrm>
        </p:grpSpPr>
        <p:pic>
          <p:nvPicPr>
            <p:cNvPr id="88" name="Graphic 87" descr="Laptop">
              <a:extLst>
                <a:ext uri="{FF2B5EF4-FFF2-40B4-BE49-F238E27FC236}">
                  <a16:creationId xmlns:a16="http://schemas.microsoft.com/office/drawing/2014/main" id="{FB106917-153C-460F-9716-981B6E3EF72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9" name="Graphic 88" descr="Smart Phone">
              <a:extLst>
                <a:ext uri="{FF2B5EF4-FFF2-40B4-BE49-F238E27FC236}">
                  <a16:creationId xmlns:a16="http://schemas.microsoft.com/office/drawing/2014/main" id="{8FB5C349-EB49-4839-A438-3DDA652E564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90" name="Graphic 89" descr="Tablet">
              <a:extLst>
                <a:ext uri="{FF2B5EF4-FFF2-40B4-BE49-F238E27FC236}">
                  <a16:creationId xmlns:a16="http://schemas.microsoft.com/office/drawing/2014/main" id="{2AB95B90-BA53-40DC-810E-0256A1E49DA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1" name="Graphic 90" descr="Monitor">
              <a:extLst>
                <a:ext uri="{FF2B5EF4-FFF2-40B4-BE49-F238E27FC236}">
                  <a16:creationId xmlns:a16="http://schemas.microsoft.com/office/drawing/2014/main" id="{69E4A2C1-1F76-41F0-9996-30C03E7717E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2" name="Graphic 91" descr="Bar chart">
            <a:extLst>
              <a:ext uri="{FF2B5EF4-FFF2-40B4-BE49-F238E27FC236}">
                <a16:creationId xmlns:a16="http://schemas.microsoft.com/office/drawing/2014/main" id="{DD47F21B-82F4-4EAC-8906-4D6CC0DBE45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3" name="Graphic 92" descr="Bar chart">
            <a:extLst>
              <a:ext uri="{FF2B5EF4-FFF2-40B4-BE49-F238E27FC236}">
                <a16:creationId xmlns:a16="http://schemas.microsoft.com/office/drawing/2014/main" id="{ADD7FF2C-7CF3-4958-893D-DCD66FEA4C6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4" name="Graphic 93" descr="Bar chart">
            <a:extLst>
              <a:ext uri="{FF2B5EF4-FFF2-40B4-BE49-F238E27FC236}">
                <a16:creationId xmlns:a16="http://schemas.microsoft.com/office/drawing/2014/main" id="{D1F913A8-5D01-494E-A26D-69E6E405EED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5" name="Graphic 94" descr="Bar chart">
            <a:extLst>
              <a:ext uri="{FF2B5EF4-FFF2-40B4-BE49-F238E27FC236}">
                <a16:creationId xmlns:a16="http://schemas.microsoft.com/office/drawing/2014/main" id="{1D09E1F1-87DF-42DD-8C0A-9E41E44F01B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37063324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Publish: </a:t>
            </a:r>
            <a:r>
              <a:rPr kumimoji="0" lang="en-US" sz="4000" b="0" i="0" u="none" strike="noStrike" kern="1200" cap="none" spc="-100" normalizeH="0" baseline="0" noProof="0" dirty="0">
                <a:ln w="3175">
                  <a:noFill/>
                </a:ln>
                <a:solidFill>
                  <a:srgbClr val="0070C0"/>
                </a:solidFill>
                <a:effectLst/>
                <a:uLnTx/>
                <a:uFillTx/>
                <a:latin typeface="Segoe UI Light"/>
                <a:ea typeface="+mn-ea"/>
                <a:cs typeface="Segoe UI" pitchFamily="34" charset="0"/>
              </a:rPr>
              <a:t>Share insights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with others</a:t>
            </a:r>
          </a:p>
        </p:txBody>
      </p:sp>
      <p:sp>
        <p:nvSpPr>
          <p:cNvPr id="19" name="Rectangle 18">
            <a:extLst>
              <a:ext uri="{FF2B5EF4-FFF2-40B4-BE49-F238E27FC236}">
                <a16:creationId xmlns:a16="http://schemas.microsoft.com/office/drawing/2014/main" id="{3978A4AE-C119-4192-A780-0E88513EB52C}"/>
              </a:ext>
            </a:extLst>
          </p:cNvPr>
          <p:cNvSpPr/>
          <p:nvPr/>
        </p:nvSpPr>
        <p:spPr>
          <a:xfrm>
            <a:off x="2194560" y="1874520"/>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ublish directly to the cloud or on-premise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utomatic data refresh, so your reports are always up to dat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ackage your reports in apps for easy consumption and control</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Manage your analytics content with admin and governance tools</a:t>
            </a:r>
            <a:endParaRPr kumimoji="0" lang="en-US" sz="2400" b="0" i="0" u="none" strike="noStrike" kern="1200" cap="none" spc="0" normalizeH="0" baseline="0" noProof="0" dirty="0">
              <a:ln>
                <a:noFill/>
              </a:ln>
              <a:solidFill>
                <a:srgbClr val="353535">
                  <a:lumMod val="50000"/>
                </a:srgbClr>
              </a:soli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5F8047B-4D1C-42D0-B109-7DBCD708AE8D}"/>
              </a:ext>
            </a:extLst>
          </p:cNvPr>
          <p:cNvGrpSpPr/>
          <p:nvPr/>
        </p:nvGrpSpPr>
        <p:grpSpPr>
          <a:xfrm>
            <a:off x="7132320" y="1645920"/>
            <a:ext cx="7031501" cy="4546355"/>
            <a:chOff x="6737920" y="1622433"/>
            <a:chExt cx="7031501" cy="4546355"/>
          </a:xfrm>
        </p:grpSpPr>
        <p:pic>
          <p:nvPicPr>
            <p:cNvPr id="21" name="Picture 20" descr="A screenshot of a computer screen&#10;&#10;Description generated with very high confidence">
              <a:extLst>
                <a:ext uri="{FF2B5EF4-FFF2-40B4-BE49-F238E27FC236}">
                  <a16:creationId xmlns:a16="http://schemas.microsoft.com/office/drawing/2014/main" id="{19A07F4E-0C0B-45D6-A23D-B460512080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6" name="Picture 5" descr="A screenshot of a cell phone&#10;&#10;Description generated with very high confidence">
              <a:extLst>
                <a:ext uri="{FF2B5EF4-FFF2-40B4-BE49-F238E27FC236}">
                  <a16:creationId xmlns:a16="http://schemas.microsoft.com/office/drawing/2014/main" id="{700DC03F-4E63-46B0-8926-8B9C9BF7DCA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57652" y="2271013"/>
              <a:ext cx="5279871" cy="3163824"/>
            </a:xfrm>
            <a:prstGeom prst="rect">
              <a:avLst/>
            </a:prstGeom>
          </p:spPr>
        </p:pic>
      </p:grpSp>
      <p:sp>
        <p:nvSpPr>
          <p:cNvPr id="64" name="Oval 63">
            <a:extLst>
              <a:ext uri="{FF2B5EF4-FFF2-40B4-BE49-F238E27FC236}">
                <a16:creationId xmlns:a16="http://schemas.microsoft.com/office/drawing/2014/main" id="{E3A14F9A-4EA2-4B89-B15B-4086D0784C8C}"/>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5" name="Oval 64">
            <a:extLst>
              <a:ext uri="{FF2B5EF4-FFF2-40B4-BE49-F238E27FC236}">
                <a16:creationId xmlns:a16="http://schemas.microsoft.com/office/drawing/2014/main" id="{BAD7520B-925F-4493-A3E3-4C701901AD56}"/>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6D21CED4-A970-42C1-8993-B18F99B0C30E}"/>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2A762765-BAED-48C1-B122-69EAA95C68F9}"/>
              </a:ext>
            </a:extLst>
          </p:cNvPr>
          <p:cNvSpPr/>
          <p:nvPr/>
        </p:nvSpPr>
        <p:spPr bwMode="auto">
          <a:xfrm>
            <a:off x="872944" y="4412209"/>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Freeform 83">
            <a:extLst>
              <a:ext uri="{FF2B5EF4-FFF2-40B4-BE49-F238E27FC236}">
                <a16:creationId xmlns:a16="http://schemas.microsoft.com/office/drawing/2014/main" id="{158CA0BA-3833-4D15-8163-346DCD1D593D}"/>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69" name="Freeform 45">
            <a:extLst>
              <a:ext uri="{FF2B5EF4-FFF2-40B4-BE49-F238E27FC236}">
                <a16:creationId xmlns:a16="http://schemas.microsoft.com/office/drawing/2014/main" id="{DC429B40-C374-46AF-9B48-84A0C3BB4BD0}"/>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70" name="Freeform 25">
            <a:extLst>
              <a:ext uri="{FF2B5EF4-FFF2-40B4-BE49-F238E27FC236}">
                <a16:creationId xmlns:a16="http://schemas.microsoft.com/office/drawing/2014/main" id="{02AD6CFD-C345-4762-9DAB-60D348C59F6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71" name="Oval 70">
            <a:extLst>
              <a:ext uri="{FF2B5EF4-FFF2-40B4-BE49-F238E27FC236}">
                <a16:creationId xmlns:a16="http://schemas.microsoft.com/office/drawing/2014/main" id="{EA77C139-DF78-4A5B-80F3-D2A87B9092C3}"/>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72" name="Group 71">
            <a:extLst>
              <a:ext uri="{FF2B5EF4-FFF2-40B4-BE49-F238E27FC236}">
                <a16:creationId xmlns:a16="http://schemas.microsoft.com/office/drawing/2014/main" id="{21D04401-B6F7-4CF9-98AC-3399446EFF9D}"/>
              </a:ext>
            </a:extLst>
          </p:cNvPr>
          <p:cNvGrpSpPr/>
          <p:nvPr/>
        </p:nvGrpSpPr>
        <p:grpSpPr>
          <a:xfrm>
            <a:off x="998322" y="2766492"/>
            <a:ext cx="539871" cy="398857"/>
            <a:chOff x="-952377" y="6149211"/>
            <a:chExt cx="1301342" cy="940471"/>
          </a:xfrm>
        </p:grpSpPr>
        <p:sp>
          <p:nvSpPr>
            <p:cNvPr id="73" name="Rectangle 72">
              <a:extLst>
                <a:ext uri="{FF2B5EF4-FFF2-40B4-BE49-F238E27FC236}">
                  <a16:creationId xmlns:a16="http://schemas.microsoft.com/office/drawing/2014/main" id="{A00D21F4-BC9C-4C04-882D-3595BF21E41D}"/>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0CC57C3F-57AA-45A8-ACDF-72AA3477043F}"/>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75" name="Rectangle 74">
              <a:extLst>
                <a:ext uri="{FF2B5EF4-FFF2-40B4-BE49-F238E27FC236}">
                  <a16:creationId xmlns:a16="http://schemas.microsoft.com/office/drawing/2014/main" id="{C457E202-D029-4D12-8D7E-3D7745D580F5}"/>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B4FFF58D-E6BF-42A1-8AA4-8DC93DDDABF8}"/>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77" name="Rectangle 76">
              <a:extLst>
                <a:ext uri="{FF2B5EF4-FFF2-40B4-BE49-F238E27FC236}">
                  <a16:creationId xmlns:a16="http://schemas.microsoft.com/office/drawing/2014/main" id="{08204DA2-5C03-4335-84CA-E075C8E08B37}"/>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1CE914C0-44FD-49FB-8214-110598B11931}"/>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79" name="Rectangle 78">
              <a:extLst>
                <a:ext uri="{FF2B5EF4-FFF2-40B4-BE49-F238E27FC236}">
                  <a16:creationId xmlns:a16="http://schemas.microsoft.com/office/drawing/2014/main" id="{2B549B88-CB82-4476-A757-A4A69E565BCA}"/>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Rectangle 79">
              <a:extLst>
                <a:ext uri="{FF2B5EF4-FFF2-40B4-BE49-F238E27FC236}">
                  <a16:creationId xmlns:a16="http://schemas.microsoft.com/office/drawing/2014/main" id="{FBE24D49-D7DA-484F-B9D4-8A4BE7077C6F}"/>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3DE019BE-8B71-455A-BB07-DC5552F42693}"/>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Rectangle 81">
              <a:extLst>
                <a:ext uri="{FF2B5EF4-FFF2-40B4-BE49-F238E27FC236}">
                  <a16:creationId xmlns:a16="http://schemas.microsoft.com/office/drawing/2014/main" id="{4B33F47F-5C7D-4CCD-BE1D-389E5DD041CD}"/>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Oval 82">
              <a:extLst>
                <a:ext uri="{FF2B5EF4-FFF2-40B4-BE49-F238E27FC236}">
                  <a16:creationId xmlns:a16="http://schemas.microsoft.com/office/drawing/2014/main" id="{935636C9-46D8-4F46-944C-43B58E23CB97}"/>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DD3474E8-4077-48BE-8668-4AA3E7144944}"/>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5" name="Oval 84">
            <a:extLst>
              <a:ext uri="{FF2B5EF4-FFF2-40B4-BE49-F238E27FC236}">
                <a16:creationId xmlns:a16="http://schemas.microsoft.com/office/drawing/2014/main" id="{7B15B940-DC7E-44AF-B6FC-7905C7A8B89E}"/>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6" name="Group 85">
            <a:extLst>
              <a:ext uri="{FF2B5EF4-FFF2-40B4-BE49-F238E27FC236}">
                <a16:creationId xmlns:a16="http://schemas.microsoft.com/office/drawing/2014/main" id="{FC807E23-5463-4121-A330-E582EA798D00}"/>
              </a:ext>
            </a:extLst>
          </p:cNvPr>
          <p:cNvGrpSpPr/>
          <p:nvPr/>
        </p:nvGrpSpPr>
        <p:grpSpPr>
          <a:xfrm>
            <a:off x="201547" y="5164886"/>
            <a:ext cx="640369" cy="669897"/>
            <a:chOff x="3519895" y="5477353"/>
            <a:chExt cx="836008" cy="967652"/>
          </a:xfrm>
        </p:grpSpPr>
        <p:pic>
          <p:nvPicPr>
            <p:cNvPr id="87" name="Graphic 86" descr="Laptop">
              <a:extLst>
                <a:ext uri="{FF2B5EF4-FFF2-40B4-BE49-F238E27FC236}">
                  <a16:creationId xmlns:a16="http://schemas.microsoft.com/office/drawing/2014/main" id="{1A3C08B2-F28F-496A-B2EC-71C49F46E91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8" name="Graphic 87" descr="Smart Phone">
              <a:extLst>
                <a:ext uri="{FF2B5EF4-FFF2-40B4-BE49-F238E27FC236}">
                  <a16:creationId xmlns:a16="http://schemas.microsoft.com/office/drawing/2014/main" id="{991D7BB6-58BF-437C-BBA0-90D0AEECC44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89" name="Graphic 88" descr="Tablet">
              <a:extLst>
                <a:ext uri="{FF2B5EF4-FFF2-40B4-BE49-F238E27FC236}">
                  <a16:creationId xmlns:a16="http://schemas.microsoft.com/office/drawing/2014/main" id="{24AE3E21-5BD8-4584-879C-7F61110AE0E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0" name="Graphic 89" descr="Monitor">
              <a:extLst>
                <a:ext uri="{FF2B5EF4-FFF2-40B4-BE49-F238E27FC236}">
                  <a16:creationId xmlns:a16="http://schemas.microsoft.com/office/drawing/2014/main" id="{CE62DF95-4505-4895-9C00-BB32A9E61A0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1" name="Graphic 90" descr="Bar chart">
            <a:extLst>
              <a:ext uri="{FF2B5EF4-FFF2-40B4-BE49-F238E27FC236}">
                <a16:creationId xmlns:a16="http://schemas.microsoft.com/office/drawing/2014/main" id="{490CEEF6-8095-4FBD-A92A-0B465EA35BB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2" name="Graphic 91" descr="Bar chart">
            <a:extLst>
              <a:ext uri="{FF2B5EF4-FFF2-40B4-BE49-F238E27FC236}">
                <a16:creationId xmlns:a16="http://schemas.microsoft.com/office/drawing/2014/main" id="{F52D8A5D-DF55-4B80-821E-E400B9ED59E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3" name="Graphic 92" descr="Bar chart">
            <a:extLst>
              <a:ext uri="{FF2B5EF4-FFF2-40B4-BE49-F238E27FC236}">
                <a16:creationId xmlns:a16="http://schemas.microsoft.com/office/drawing/2014/main" id="{6CB8A0C1-C134-43CD-A532-63CF73CF0DC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4" name="Graphic 93" descr="Bar chart">
            <a:extLst>
              <a:ext uri="{FF2B5EF4-FFF2-40B4-BE49-F238E27FC236}">
                <a16:creationId xmlns:a16="http://schemas.microsoft.com/office/drawing/2014/main" id="{D0B65FAE-384A-4D37-B17D-84471F591D3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257891575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3770" y="182880"/>
            <a:ext cx="11704320" cy="730657"/>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Collaborate: </a:t>
            </a:r>
            <a:r>
              <a:rPr kumimoji="0" lang="en-US" sz="4000" b="0" i="0" u="none" strike="noStrike" kern="1200" cap="none" spc="-100" normalizeH="0" baseline="0" noProof="0" dirty="0">
                <a:ln w="3175">
                  <a:noFill/>
                </a:ln>
                <a:solidFill>
                  <a:srgbClr val="0070C0"/>
                </a:solidFill>
                <a:effectLst/>
                <a:uLnTx/>
                <a:uFillTx/>
                <a:latin typeface="Segoe UI Light"/>
                <a:ea typeface="+mn-ea"/>
                <a:cs typeface="Segoe UI" pitchFamily="34" charset="0"/>
              </a:rPr>
              <a:t>Empower your organization</a:t>
            </a:r>
            <a:endParaRPr kumimoji="0" lang="en-US" sz="1600" b="0" i="0" u="none" strike="noStrike" kern="1200" cap="none" spc="-100" normalizeH="0" baseline="0" noProof="0" dirty="0">
              <a:ln w="3175">
                <a:noFill/>
              </a:ln>
              <a:solidFill>
                <a:srgbClr val="FF0000"/>
              </a:solidFill>
              <a:effectLst/>
              <a:uLnTx/>
              <a:uFillTx/>
              <a:latin typeface="Segoe UI Light"/>
              <a:ea typeface="+mn-ea"/>
              <a:cs typeface="Segoe UI" pitchFamily="34" charset="0"/>
            </a:endParaRPr>
          </a:p>
        </p:txBody>
      </p:sp>
      <p:sp>
        <p:nvSpPr>
          <p:cNvPr id="28" name="Rectangle 27">
            <a:extLst>
              <a:ext uri="{FF2B5EF4-FFF2-40B4-BE49-F238E27FC236}">
                <a16:creationId xmlns:a16="http://schemas.microsoft.com/office/drawing/2014/main" id="{59028874-4DA5-46B5-8C64-7CC0362CE4C7}"/>
              </a:ext>
            </a:extLst>
          </p:cNvPr>
          <p:cNvSpPr/>
          <p:nvPr/>
        </p:nvSpPr>
        <p:spPr>
          <a:xfrm>
            <a:off x="2194558" y="1874520"/>
            <a:ext cx="5212080" cy="4081117"/>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rovide access to reports and dashboards anywhere on any devic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Enable users to Ask questions and automatically discover insights from the data</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Deliver insights through other services such as Sharepoint and Team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nnect live to your models in Excel and Power BI Desktop</a:t>
            </a:r>
          </a:p>
        </p:txBody>
      </p:sp>
      <p:pic>
        <p:nvPicPr>
          <p:cNvPr id="27" name="Picture 26" descr="A screenshot of a computer screen&#10;&#10;Description generated with very high confidence">
            <a:extLst>
              <a:ext uri="{FF2B5EF4-FFF2-40B4-BE49-F238E27FC236}">
                <a16:creationId xmlns:a16="http://schemas.microsoft.com/office/drawing/2014/main" id="{2ABFE356-EC07-47E3-8173-B9EC9E72B3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2320" y="1645920"/>
            <a:ext cx="7031501" cy="4546355"/>
          </a:xfrm>
          <a:prstGeom prst="rect">
            <a:avLst/>
          </a:prstGeom>
        </p:spPr>
      </p:pic>
      <p:sp>
        <p:nvSpPr>
          <p:cNvPr id="97" name="Oval 96">
            <a:extLst>
              <a:ext uri="{FF2B5EF4-FFF2-40B4-BE49-F238E27FC236}">
                <a16:creationId xmlns:a16="http://schemas.microsoft.com/office/drawing/2014/main" id="{C358D61B-8DDD-4463-B097-78D4AA8D113C}"/>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8" name="Oval 97">
            <a:extLst>
              <a:ext uri="{FF2B5EF4-FFF2-40B4-BE49-F238E27FC236}">
                <a16:creationId xmlns:a16="http://schemas.microsoft.com/office/drawing/2014/main" id="{D5561EA2-C3C1-4E7F-9070-7872F11D7414}"/>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9" name="Oval 98">
            <a:extLst>
              <a:ext uri="{FF2B5EF4-FFF2-40B4-BE49-F238E27FC236}">
                <a16:creationId xmlns:a16="http://schemas.microsoft.com/office/drawing/2014/main" id="{E41265D7-47EE-41C7-9A54-FFB8B2FEB9EE}"/>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0" name="Oval 99">
            <a:extLst>
              <a:ext uri="{FF2B5EF4-FFF2-40B4-BE49-F238E27FC236}">
                <a16:creationId xmlns:a16="http://schemas.microsoft.com/office/drawing/2014/main" id="{8CCA61B7-FA63-436E-8B36-1A7263C3E8AD}"/>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1" name="Freeform 83">
            <a:extLst>
              <a:ext uri="{FF2B5EF4-FFF2-40B4-BE49-F238E27FC236}">
                <a16:creationId xmlns:a16="http://schemas.microsoft.com/office/drawing/2014/main" id="{65C5E03D-FEF9-43FF-AADD-A03F683CEEAD}"/>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102" name="Freeform 45">
            <a:extLst>
              <a:ext uri="{FF2B5EF4-FFF2-40B4-BE49-F238E27FC236}">
                <a16:creationId xmlns:a16="http://schemas.microsoft.com/office/drawing/2014/main" id="{ACC0EE31-495F-4E82-8A0D-60D9AA69A41D}"/>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103" name="Freeform 25">
            <a:extLst>
              <a:ext uri="{FF2B5EF4-FFF2-40B4-BE49-F238E27FC236}">
                <a16:creationId xmlns:a16="http://schemas.microsoft.com/office/drawing/2014/main" id="{DD79695B-9C2F-4831-A7CB-15F529F69A1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104" name="Oval 103">
            <a:extLst>
              <a:ext uri="{FF2B5EF4-FFF2-40B4-BE49-F238E27FC236}">
                <a16:creationId xmlns:a16="http://schemas.microsoft.com/office/drawing/2014/main" id="{5AEE3529-E0C8-4F42-814B-F916ABAD9EF1}"/>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E00F2589-19A1-4793-83B4-AC755286C343}"/>
              </a:ext>
            </a:extLst>
          </p:cNvPr>
          <p:cNvGrpSpPr/>
          <p:nvPr/>
        </p:nvGrpSpPr>
        <p:grpSpPr>
          <a:xfrm>
            <a:off x="998322" y="2766492"/>
            <a:ext cx="539871" cy="398857"/>
            <a:chOff x="-952377" y="6149211"/>
            <a:chExt cx="1301342" cy="940471"/>
          </a:xfrm>
        </p:grpSpPr>
        <p:sp>
          <p:nvSpPr>
            <p:cNvPr id="106" name="Rectangle 105">
              <a:extLst>
                <a:ext uri="{FF2B5EF4-FFF2-40B4-BE49-F238E27FC236}">
                  <a16:creationId xmlns:a16="http://schemas.microsoft.com/office/drawing/2014/main" id="{52A1196E-E402-4B70-8004-A5D78B38B910}"/>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EBC85D18-3317-4372-847C-CE93E469BC51}"/>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108" name="Rectangle 107">
              <a:extLst>
                <a:ext uri="{FF2B5EF4-FFF2-40B4-BE49-F238E27FC236}">
                  <a16:creationId xmlns:a16="http://schemas.microsoft.com/office/drawing/2014/main" id="{694B4B05-2D97-416B-806B-BA50DFD5870F}"/>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629A4B65-8400-46B9-8981-5E7396DEA76C}"/>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110" name="Rectangle 109">
              <a:extLst>
                <a:ext uri="{FF2B5EF4-FFF2-40B4-BE49-F238E27FC236}">
                  <a16:creationId xmlns:a16="http://schemas.microsoft.com/office/drawing/2014/main" id="{F38F69E7-B1A0-48C3-99B1-FB00E5BEFD2C}"/>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11" name="Straight Connector 110">
              <a:extLst>
                <a:ext uri="{FF2B5EF4-FFF2-40B4-BE49-F238E27FC236}">
                  <a16:creationId xmlns:a16="http://schemas.microsoft.com/office/drawing/2014/main" id="{BD3B7481-B78C-4B66-9E9C-36F8ECFFE1A8}"/>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112" name="Rectangle 111">
              <a:extLst>
                <a:ext uri="{FF2B5EF4-FFF2-40B4-BE49-F238E27FC236}">
                  <a16:creationId xmlns:a16="http://schemas.microsoft.com/office/drawing/2014/main" id="{8CCDF8A4-2792-4885-9AD9-32C8874E887A}"/>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Rectangle 112">
              <a:extLst>
                <a:ext uri="{FF2B5EF4-FFF2-40B4-BE49-F238E27FC236}">
                  <a16:creationId xmlns:a16="http://schemas.microsoft.com/office/drawing/2014/main" id="{151BF6DC-528E-4375-9334-9A690ED3338E}"/>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4" name="Oval 113">
              <a:extLst>
                <a:ext uri="{FF2B5EF4-FFF2-40B4-BE49-F238E27FC236}">
                  <a16:creationId xmlns:a16="http://schemas.microsoft.com/office/drawing/2014/main" id="{382FB9D7-BE12-4196-9008-1F91511DB7EC}"/>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5" name="Rectangle 114">
              <a:extLst>
                <a:ext uri="{FF2B5EF4-FFF2-40B4-BE49-F238E27FC236}">
                  <a16:creationId xmlns:a16="http://schemas.microsoft.com/office/drawing/2014/main" id="{9B4B4B32-5745-4BEA-9D0B-029C5D375F47}"/>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 name="Oval 115">
              <a:extLst>
                <a:ext uri="{FF2B5EF4-FFF2-40B4-BE49-F238E27FC236}">
                  <a16:creationId xmlns:a16="http://schemas.microsoft.com/office/drawing/2014/main" id="{A76AF950-3F59-467E-9729-33E8DC36DB8D}"/>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7" name="Oval 116">
              <a:extLst>
                <a:ext uri="{FF2B5EF4-FFF2-40B4-BE49-F238E27FC236}">
                  <a16:creationId xmlns:a16="http://schemas.microsoft.com/office/drawing/2014/main" id="{DBEB3D6D-90AB-4A05-A955-6B5A7CF65111}"/>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18" name="Oval 117">
            <a:extLst>
              <a:ext uri="{FF2B5EF4-FFF2-40B4-BE49-F238E27FC236}">
                <a16:creationId xmlns:a16="http://schemas.microsoft.com/office/drawing/2014/main" id="{02164E63-44F0-4DF6-8767-66ADF7DF91EC}"/>
              </a:ext>
            </a:extLst>
          </p:cNvPr>
          <p:cNvSpPr/>
          <p:nvPr/>
        </p:nvSpPr>
        <p:spPr bwMode="auto">
          <a:xfrm>
            <a:off x="140307" y="5142866"/>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19" name="Group 118">
            <a:extLst>
              <a:ext uri="{FF2B5EF4-FFF2-40B4-BE49-F238E27FC236}">
                <a16:creationId xmlns:a16="http://schemas.microsoft.com/office/drawing/2014/main" id="{E453DFFA-223E-42E6-B9F4-5245073ADF4A}"/>
              </a:ext>
            </a:extLst>
          </p:cNvPr>
          <p:cNvGrpSpPr/>
          <p:nvPr/>
        </p:nvGrpSpPr>
        <p:grpSpPr>
          <a:xfrm>
            <a:off x="201547" y="5164886"/>
            <a:ext cx="640369" cy="669897"/>
            <a:chOff x="3519895" y="5477353"/>
            <a:chExt cx="836008" cy="967652"/>
          </a:xfrm>
        </p:grpSpPr>
        <p:pic>
          <p:nvPicPr>
            <p:cNvPr id="120" name="Graphic 119" descr="Laptop">
              <a:extLst>
                <a:ext uri="{FF2B5EF4-FFF2-40B4-BE49-F238E27FC236}">
                  <a16:creationId xmlns:a16="http://schemas.microsoft.com/office/drawing/2014/main" id="{7F88CBD1-6961-47FC-B91B-5FA1C8BED1B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43588" y="5477353"/>
              <a:ext cx="449620" cy="449620"/>
            </a:xfrm>
            <a:prstGeom prst="rect">
              <a:avLst/>
            </a:prstGeom>
          </p:spPr>
        </p:pic>
        <p:pic>
          <p:nvPicPr>
            <p:cNvPr id="121" name="Graphic 120" descr="Smart Phone">
              <a:extLst>
                <a:ext uri="{FF2B5EF4-FFF2-40B4-BE49-F238E27FC236}">
                  <a16:creationId xmlns:a16="http://schemas.microsoft.com/office/drawing/2014/main" id="{CD510E10-65C0-4A37-A7A8-CD82B941941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9086" y="5883028"/>
              <a:ext cx="316817" cy="316817"/>
            </a:xfrm>
            <a:prstGeom prst="rect">
              <a:avLst/>
            </a:prstGeom>
          </p:spPr>
        </p:pic>
        <p:pic>
          <p:nvPicPr>
            <p:cNvPr id="122" name="Graphic 121" descr="Tablet">
              <a:extLst>
                <a:ext uri="{FF2B5EF4-FFF2-40B4-BE49-F238E27FC236}">
                  <a16:creationId xmlns:a16="http://schemas.microsoft.com/office/drawing/2014/main" id="{8890955D-8DF0-4A5B-B32E-35A93D155FB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19895" y="5778197"/>
              <a:ext cx="347308" cy="347308"/>
            </a:xfrm>
            <a:prstGeom prst="rect">
              <a:avLst/>
            </a:prstGeom>
          </p:spPr>
        </p:pic>
        <p:pic>
          <p:nvPicPr>
            <p:cNvPr id="123" name="Graphic 122" descr="Monitor">
              <a:extLst>
                <a:ext uri="{FF2B5EF4-FFF2-40B4-BE49-F238E27FC236}">
                  <a16:creationId xmlns:a16="http://schemas.microsoft.com/office/drawing/2014/main" id="{20A9088D-7EF5-4EE4-A8A8-221D7626DCB4}"/>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94746" y="6011420"/>
              <a:ext cx="433585" cy="433585"/>
            </a:xfrm>
            <a:prstGeom prst="rect">
              <a:avLst/>
            </a:prstGeom>
          </p:spPr>
        </p:pic>
      </p:grpSp>
      <p:pic>
        <p:nvPicPr>
          <p:cNvPr id="124" name="Graphic 123" descr="Bar chart">
            <a:extLst>
              <a:ext uri="{FF2B5EF4-FFF2-40B4-BE49-F238E27FC236}">
                <a16:creationId xmlns:a16="http://schemas.microsoft.com/office/drawing/2014/main" id="{0C1C9DA6-B940-4B61-8CA0-159D21E8F2D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80861" y="5577794"/>
            <a:ext cx="173683" cy="173683"/>
          </a:xfrm>
          <a:prstGeom prst="rect">
            <a:avLst/>
          </a:prstGeom>
        </p:spPr>
      </p:pic>
      <p:pic>
        <p:nvPicPr>
          <p:cNvPr id="125" name="Graphic 124" descr="Bar chart">
            <a:extLst>
              <a:ext uri="{FF2B5EF4-FFF2-40B4-BE49-F238E27FC236}">
                <a16:creationId xmlns:a16="http://schemas.microsoft.com/office/drawing/2014/main" id="{E7D353D6-C079-4562-BEE4-B18CA46078BA}"/>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45552" y="5231190"/>
            <a:ext cx="143880" cy="143880"/>
          </a:xfrm>
          <a:prstGeom prst="rect">
            <a:avLst/>
          </a:prstGeom>
        </p:spPr>
      </p:pic>
      <p:pic>
        <p:nvPicPr>
          <p:cNvPr id="126" name="Graphic 125" descr="Bar chart">
            <a:extLst>
              <a:ext uri="{FF2B5EF4-FFF2-40B4-BE49-F238E27FC236}">
                <a16:creationId xmlns:a16="http://schemas.microsoft.com/office/drawing/2014/main" id="{822ED9DC-5456-404A-A50C-9A9ED72D089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45223" y="5431145"/>
            <a:ext cx="133048" cy="133048"/>
          </a:xfrm>
          <a:prstGeom prst="rect">
            <a:avLst/>
          </a:prstGeom>
        </p:spPr>
      </p:pic>
      <p:pic>
        <p:nvPicPr>
          <p:cNvPr id="127" name="Graphic 126" descr="Bar chart">
            <a:extLst>
              <a:ext uri="{FF2B5EF4-FFF2-40B4-BE49-F238E27FC236}">
                <a16:creationId xmlns:a16="http://schemas.microsoft.com/office/drawing/2014/main" id="{DE68E10E-19DF-48BE-8785-3C08DE83BD0C}"/>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1400" y="5490087"/>
            <a:ext cx="86866" cy="143880"/>
          </a:xfrm>
          <a:prstGeom prst="rect">
            <a:avLst/>
          </a:prstGeom>
        </p:spPr>
      </p:pic>
      <p:pic>
        <p:nvPicPr>
          <p:cNvPr id="5" name="Picture 4">
            <a:extLst>
              <a:ext uri="{FF2B5EF4-FFF2-40B4-BE49-F238E27FC236}">
                <a16:creationId xmlns:a16="http://schemas.microsoft.com/office/drawing/2014/main" id="{0F74A955-5DFC-49A3-BEFC-09EC2ECEF0E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997606" y="2259341"/>
            <a:ext cx="5885759" cy="3216813"/>
          </a:xfrm>
          <a:prstGeom prst="rect">
            <a:avLst/>
          </a:prstGeom>
        </p:spPr>
      </p:pic>
    </p:spTree>
    <p:extLst>
      <p:ext uri="{BB962C8B-B14F-4D97-AF65-F5344CB8AC3E}">
        <p14:creationId xmlns:p14="http://schemas.microsoft.com/office/powerpoint/2010/main" val="39055890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D0062DF-A207-4C11-8DC1-C91A626671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1773" y="-91638"/>
            <a:ext cx="10273919" cy="6837325"/>
          </a:xfrm>
          <a:prstGeom prst="rect">
            <a:avLst/>
          </a:prstGeom>
        </p:spPr>
      </p:pic>
      <p:sp>
        <p:nvSpPr>
          <p:cNvPr id="3" name="Rectangle 2"/>
          <p:cNvSpPr/>
          <p:nvPr/>
        </p:nvSpPr>
        <p:spPr bwMode="auto">
          <a:xfrm>
            <a:off x="5654664" y="1433596"/>
            <a:ext cx="2465419" cy="1086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pPr>
            <a:r>
              <a:rPr lang="pt-BR" sz="784" dirty="0">
                <a:gradFill>
                  <a:gsLst>
                    <a:gs pos="16364">
                      <a:schemeClr val="accent5"/>
                    </a:gs>
                    <a:gs pos="47000">
                      <a:schemeClr val="accent5"/>
                    </a:gs>
                  </a:gsLst>
                  <a:lin ang="5400000" scaled="0"/>
                </a:gradFill>
                <a:latin typeface="Segoe UI" panose="020B0502040204020203" pitchFamily="34" charset="0"/>
                <a:cs typeface="Segoe UI" panose="020B0502040204020203" pitchFamily="34" charset="0"/>
              </a:rPr>
              <a:t>Eletricidade por Gás, Nuclear e Carvão por ano nos EUA</a:t>
            </a:r>
          </a:p>
        </p:txBody>
      </p:sp>
      <p:sp>
        <p:nvSpPr>
          <p:cNvPr id="28" name="microsoft"/>
          <p:cNvSpPr/>
          <p:nvPr/>
        </p:nvSpPr>
        <p:spPr>
          <a:xfrm>
            <a:off x="269240" y="2765203"/>
            <a:ext cx="4407422" cy="1327596"/>
          </a:xfrm>
          <a:prstGeom prst="rect">
            <a:avLst/>
          </a:prstGeom>
        </p:spPr>
        <p:txBody>
          <a:bodyPr wrap="square" lIns="143428" tIns="89642" rIns="143428" bIns="89642" anchor="ctr">
            <a:spAutoFit/>
          </a:bodyPr>
          <a:lstStyle/>
          <a:p>
            <a:pPr defTabSz="914102" fontAlgn="base">
              <a:lnSpc>
                <a:spcPct val="95000"/>
              </a:lnSpc>
              <a:spcBef>
                <a:spcPct val="0"/>
              </a:spcBef>
              <a:defRPr/>
            </a:pPr>
            <a:r>
              <a:rPr lang="en-US" sz="3921" spc="-98" dirty="0">
                <a:ln w="3175">
                  <a:noFill/>
                </a:ln>
                <a:gradFill>
                  <a:gsLst>
                    <a:gs pos="24479">
                      <a:srgbClr val="505050"/>
                    </a:gs>
                    <a:gs pos="94000">
                      <a:srgbClr val="505050"/>
                    </a:gs>
                  </a:gsLst>
                  <a:lin ang="5400000" scaled="1"/>
                </a:gradFill>
                <a:latin typeface="Segoe UI Light"/>
                <a:cs typeface="Segoe UI" pitchFamily="34" charset="0"/>
              </a:rPr>
              <a:t>Ask questions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of your data</a:t>
            </a:r>
          </a:p>
        </p:txBody>
      </p:sp>
      <p:pic>
        <p:nvPicPr>
          <p:cNvPr id="16" name="Picture 15">
            <a:extLst>
              <a:ext uri="{FF2B5EF4-FFF2-40B4-BE49-F238E27FC236}">
                <a16:creationId xmlns:a16="http://schemas.microsoft.com/office/drawing/2014/main" id="{430C85FE-B669-4A0D-ACD0-29CC7048E82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092421" y="1679505"/>
            <a:ext cx="5933916" cy="3973557"/>
          </a:xfrm>
          <a:prstGeom prst="rect">
            <a:avLst/>
          </a:prstGeom>
        </p:spPr>
      </p:pic>
    </p:spTree>
    <p:extLst>
      <p:ext uri="{BB962C8B-B14F-4D97-AF65-F5344CB8AC3E}">
        <p14:creationId xmlns:p14="http://schemas.microsoft.com/office/powerpoint/2010/main" val="3742979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80138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350"/>
                                        <p:tgtEl>
                                          <p:spTgt spid="15"/>
                                        </p:tgtEl>
                                      </p:cBhvr>
                                    </p:animEffect>
                                  </p:childTnLst>
                                </p:cTn>
                              </p:par>
                              <p:par>
                                <p:cTn id="13" presetID="63" presetClass="path" presetSubtype="0" decel="100000" fill="hold" nodeType="withEffect">
                                  <p:stCondLst>
                                    <p:cond delay="0"/>
                                  </p:stCondLst>
                                  <p:childTnLst>
                                    <p:animMotion origin="layout" path="M 0.02502 -4.26691E-7 L -2.35384E-6 -4.26691E-7 " pathEditMode="relative" rAng="0" ptsTypes="AA">
                                      <p:cBhvr>
                                        <p:cTn id="14" dur="650" fill="hold"/>
                                        <p:tgtEl>
                                          <p:spTgt spid="15"/>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iterate type="lt">
                                    <p:tmAbs val="100"/>
                                  </p:iterate>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par>
                          <p:cTn id="18" fill="hold">
                            <p:stCondLst>
                              <p:cond delay="5051"/>
                            </p:stCondLst>
                            <p:childTnLst>
                              <p:par>
                                <p:cTn id="19" presetID="10" presetClass="entr" presetSubtype="0" fill="hold" nodeType="after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defTabSz="914102" fontAlgn="base">
              <a:lnSpc>
                <a:spcPct val="95000"/>
              </a:lnSpc>
              <a:spcBef>
                <a:spcPct val="0"/>
              </a:spcBef>
              <a:defRPr/>
            </a:pPr>
            <a:r>
              <a:rPr lang="en-US" sz="3921" spc="-98" dirty="0">
                <a:ln w="3175">
                  <a:noFill/>
                </a:ln>
                <a:gradFill>
                  <a:gsLst>
                    <a:gs pos="24479">
                      <a:srgbClr val="505050"/>
                    </a:gs>
                    <a:gs pos="94000">
                      <a:srgbClr val="505050"/>
                    </a:gs>
                  </a:gsLst>
                  <a:lin ang="5400000" scaled="1"/>
                </a:gradFill>
                <a:latin typeface="Segoe UI Light"/>
                <a:cs typeface="Segoe UI" pitchFamily="34" charset="0"/>
              </a:rPr>
              <a:t>Run your business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in real time with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5"/>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351" y="-96837"/>
              <a:ext cx="10473836" cy="6980525"/>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genda</a:t>
            </a:r>
          </a:p>
        </p:txBody>
      </p:sp>
      <p:sp>
        <p:nvSpPr>
          <p:cNvPr id="16" name="TextBox 15"/>
          <p:cNvSpPr txBox="1"/>
          <p:nvPr/>
        </p:nvSpPr>
        <p:spPr>
          <a:xfrm>
            <a:off x="4806302" y="1855135"/>
            <a:ext cx="5651905" cy="369236"/>
          </a:xfrm>
          <a:prstGeom prst="rect">
            <a:avLst/>
          </a:prstGeom>
          <a:noFill/>
        </p:spPr>
        <p:txBody>
          <a:bodyPr wrap="square" rtlCol="0">
            <a:spAutoFit/>
          </a:bodyPr>
          <a:lstStyle/>
          <a:p>
            <a:pPr defTabSz="914363"/>
            <a:r>
              <a:rPr lang="en-US" sz="1799" dirty="0" err="1">
                <a:solidFill>
                  <a:srgbClr val="000000"/>
                </a:solidFill>
                <a:latin typeface="Segoe UI Light" panose="020B0502040204020203" pitchFamily="34" charset="0"/>
                <a:cs typeface="Segoe UI Light" panose="020B0502040204020203" pitchFamily="34" charset="0"/>
              </a:rPr>
              <a:t>Introdução</a:t>
            </a:r>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17" name="TextBox 16"/>
          <p:cNvSpPr txBox="1"/>
          <p:nvPr/>
        </p:nvSpPr>
        <p:spPr>
          <a:xfrm>
            <a:off x="4806301" y="2862495"/>
            <a:ext cx="5651905" cy="369236"/>
          </a:xfrm>
          <a:prstGeom prst="rect">
            <a:avLst/>
          </a:prstGeom>
          <a:noFill/>
        </p:spPr>
        <p:txBody>
          <a:bodyPr wrap="square" rtlCol="0">
            <a:spAutoFit/>
          </a:bodyPr>
          <a:lstStyle/>
          <a:p>
            <a:pPr defTabSz="914363"/>
            <a:r>
              <a:rPr lang="en-US" sz="1799" dirty="0">
                <a:solidFill>
                  <a:srgbClr val="000000"/>
                </a:solidFill>
                <a:latin typeface="Segoe UI Light" panose="020B0502040204020203" pitchFamily="34" charset="0"/>
                <a:cs typeface="Segoe UI Light" panose="020B0502040204020203" pitchFamily="34" charset="0"/>
              </a:rPr>
              <a:t>Overview Azure</a:t>
            </a:r>
          </a:p>
        </p:txBody>
      </p:sp>
      <p:sp>
        <p:nvSpPr>
          <p:cNvPr id="18" name="TextBox 17"/>
          <p:cNvSpPr txBox="1"/>
          <p:nvPr/>
        </p:nvSpPr>
        <p:spPr>
          <a:xfrm>
            <a:off x="4806301" y="3869854"/>
            <a:ext cx="5651905" cy="369236"/>
          </a:xfrm>
          <a:prstGeom prst="rect">
            <a:avLst/>
          </a:prstGeom>
          <a:noFill/>
        </p:spPr>
        <p:txBody>
          <a:bodyPr wrap="square" rtlCol="0">
            <a:spAutoFit/>
          </a:bodyPr>
          <a:lstStyle/>
          <a:p>
            <a:pPr defTabSz="914363"/>
            <a:r>
              <a:rPr lang="en-US" sz="1799" dirty="0">
                <a:solidFill>
                  <a:srgbClr val="000000"/>
                </a:solidFill>
                <a:latin typeface="Segoe UI Light" panose="020B0502040204020203" pitchFamily="34" charset="0"/>
                <a:cs typeface="Segoe UI Light" panose="020B0502040204020203" pitchFamily="34" charset="0"/>
              </a:rPr>
              <a:t>Overview Power BI</a:t>
            </a:r>
          </a:p>
        </p:txBody>
      </p:sp>
      <p:sp>
        <p:nvSpPr>
          <p:cNvPr id="19" name="TextBox 18"/>
          <p:cNvSpPr txBox="1"/>
          <p:nvPr/>
        </p:nvSpPr>
        <p:spPr>
          <a:xfrm>
            <a:off x="4806301" y="4877214"/>
            <a:ext cx="5651905" cy="369236"/>
          </a:xfrm>
          <a:prstGeom prst="rect">
            <a:avLst/>
          </a:prstGeom>
          <a:noFill/>
        </p:spPr>
        <p:txBody>
          <a:bodyPr wrap="square" rtlCol="0">
            <a:spAutoFit/>
          </a:bodyPr>
          <a:lstStyle/>
          <a:p>
            <a:pPr defTabSz="914363"/>
            <a:r>
              <a:rPr lang="pt-BR" sz="1799" dirty="0">
                <a:solidFill>
                  <a:srgbClr val="000000"/>
                </a:solidFill>
                <a:latin typeface="Segoe UI Light" panose="020B0502040204020203" pitchFamily="34" charset="0"/>
                <a:cs typeface="Segoe UI Light" panose="020B0502040204020203" pitchFamily="34" charset="0"/>
              </a:rPr>
              <a:t>Q</a:t>
            </a:r>
            <a:r>
              <a:rPr lang="en-US" sz="1799" dirty="0" err="1">
                <a:solidFill>
                  <a:srgbClr val="000000"/>
                </a:solidFill>
                <a:latin typeface="Segoe UI Light" panose="020B0502040204020203" pitchFamily="34" charset="0"/>
                <a:cs typeface="Segoe UI Light" panose="020B0502040204020203" pitchFamily="34" charset="0"/>
              </a:rPr>
              <a:t>nA</a:t>
            </a:r>
            <a:endParaRPr lang="en-US" sz="1799" dirty="0">
              <a:solidFill>
                <a:srgbClr val="000000"/>
              </a:solidFill>
              <a:latin typeface="Segoe UI Light" panose="020B0502040204020203" pitchFamily="34" charset="0"/>
              <a:cs typeface="Segoe UI Light" panose="020B0502040204020203" pitchFamily="34" charset="0"/>
            </a:endParaRPr>
          </a:p>
        </p:txBody>
      </p:sp>
      <p:grpSp>
        <p:nvGrpSpPr>
          <p:cNvPr id="3" name="Group 2"/>
          <p:cNvGrpSpPr/>
          <p:nvPr/>
        </p:nvGrpSpPr>
        <p:grpSpPr>
          <a:xfrm>
            <a:off x="3503723" y="1596638"/>
            <a:ext cx="974950" cy="908781"/>
            <a:chOff x="3261132" y="2183517"/>
            <a:chExt cx="975204" cy="909018"/>
          </a:xfrm>
        </p:grpSpPr>
        <p:sp>
          <p:nvSpPr>
            <p:cNvPr id="4" name="Rectangle 3"/>
            <p:cNvSpPr/>
            <p:nvPr/>
          </p:nvSpPr>
          <p:spPr>
            <a:xfrm>
              <a:off x="3261132" y="2183517"/>
              <a:ext cx="975204" cy="909018"/>
            </a:xfrm>
            <a:prstGeom prst="rect">
              <a:avLst/>
            </a:prstGeom>
            <a:solidFill>
              <a:srgbClr val="F250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21" name="Group 20"/>
            <p:cNvGrpSpPr/>
            <p:nvPr/>
          </p:nvGrpSpPr>
          <p:grpSpPr>
            <a:xfrm>
              <a:off x="3391654" y="2539200"/>
              <a:ext cx="714159" cy="339522"/>
              <a:chOff x="7738282" y="3870251"/>
              <a:chExt cx="1905101" cy="1356842"/>
            </a:xfrm>
          </p:grpSpPr>
          <p:grpSp>
            <p:nvGrpSpPr>
              <p:cNvPr id="22" name="Group 21"/>
              <p:cNvGrpSpPr>
                <a:grpSpLocks noChangeAspect="1"/>
              </p:cNvGrpSpPr>
              <p:nvPr/>
            </p:nvGrpSpPr>
            <p:grpSpPr>
              <a:xfrm>
                <a:off x="7738282" y="4297584"/>
                <a:ext cx="250611" cy="929509"/>
                <a:chOff x="4951413" y="-951111"/>
                <a:chExt cx="2281237" cy="5776913"/>
              </a:xfrm>
            </p:grpSpPr>
            <p:sp>
              <p:nvSpPr>
                <p:cNvPr id="38"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9"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3" name="Group 22"/>
              <p:cNvGrpSpPr>
                <a:grpSpLocks noChangeAspect="1"/>
              </p:cNvGrpSpPr>
              <p:nvPr/>
            </p:nvGrpSpPr>
            <p:grpSpPr>
              <a:xfrm>
                <a:off x="8133879" y="3870251"/>
                <a:ext cx="250611" cy="929509"/>
                <a:chOff x="4951413" y="-951111"/>
                <a:chExt cx="2281237" cy="5776913"/>
              </a:xfrm>
            </p:grpSpPr>
            <p:sp>
              <p:nvSpPr>
                <p:cNvPr id="36"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7"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4" name="Group 23"/>
              <p:cNvGrpSpPr>
                <a:grpSpLocks noChangeAspect="1"/>
              </p:cNvGrpSpPr>
              <p:nvPr/>
            </p:nvGrpSpPr>
            <p:grpSpPr>
              <a:xfrm>
                <a:off x="8448602" y="3870251"/>
                <a:ext cx="250611" cy="929509"/>
                <a:chOff x="4951413" y="-951111"/>
                <a:chExt cx="2281237" cy="5776913"/>
              </a:xfrm>
            </p:grpSpPr>
            <p:sp>
              <p:nvSpPr>
                <p:cNvPr id="34"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5"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5" name="Group 24"/>
              <p:cNvGrpSpPr>
                <a:grpSpLocks noChangeAspect="1"/>
              </p:cNvGrpSpPr>
              <p:nvPr/>
            </p:nvGrpSpPr>
            <p:grpSpPr>
              <a:xfrm>
                <a:off x="8763325" y="3870251"/>
                <a:ext cx="250611" cy="929509"/>
                <a:chOff x="4951413" y="-951111"/>
                <a:chExt cx="2281237" cy="5776913"/>
              </a:xfrm>
            </p:grpSpPr>
            <p:sp>
              <p:nvSpPr>
                <p:cNvPr id="32"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3"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6" name="Group 25"/>
              <p:cNvGrpSpPr>
                <a:grpSpLocks noChangeAspect="1"/>
              </p:cNvGrpSpPr>
              <p:nvPr/>
            </p:nvGrpSpPr>
            <p:grpSpPr>
              <a:xfrm>
                <a:off x="9078048" y="3870251"/>
                <a:ext cx="250611" cy="929509"/>
                <a:chOff x="4951413" y="-951111"/>
                <a:chExt cx="2281237" cy="5776913"/>
              </a:xfrm>
            </p:grpSpPr>
            <p:sp>
              <p:nvSpPr>
                <p:cNvPr id="30"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1" name="Freeform 17"/>
                <p:cNvSpPr>
                  <a:spLocks/>
                </p:cNvSpPr>
                <p:nvPr/>
              </p:nvSpPr>
              <p:spPr bwMode="auto">
                <a:xfrm>
                  <a:off x="4951413" y="120456"/>
                  <a:ext cx="2281237" cy="4705346"/>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7" name="Group 26"/>
              <p:cNvGrpSpPr>
                <a:grpSpLocks noChangeAspect="1"/>
              </p:cNvGrpSpPr>
              <p:nvPr/>
            </p:nvGrpSpPr>
            <p:grpSpPr>
              <a:xfrm>
                <a:off x="9392772" y="3870251"/>
                <a:ext cx="250611" cy="929509"/>
                <a:chOff x="4951413" y="-951111"/>
                <a:chExt cx="2281237" cy="5776913"/>
              </a:xfrm>
            </p:grpSpPr>
            <p:sp>
              <p:nvSpPr>
                <p:cNvPr id="28"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29"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grpSp>
      <p:sp>
        <p:nvSpPr>
          <p:cNvPr id="7" name="Rectangle 6"/>
          <p:cNvSpPr/>
          <p:nvPr/>
        </p:nvSpPr>
        <p:spPr>
          <a:xfrm>
            <a:off x="3505915" y="3600962"/>
            <a:ext cx="985985" cy="908781"/>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9" name="Group 8"/>
          <p:cNvGrpSpPr/>
          <p:nvPr/>
        </p:nvGrpSpPr>
        <p:grpSpPr>
          <a:xfrm>
            <a:off x="3505919" y="4608762"/>
            <a:ext cx="974950" cy="908781"/>
            <a:chOff x="3263328" y="5196425"/>
            <a:chExt cx="975204" cy="909018"/>
          </a:xfrm>
        </p:grpSpPr>
        <p:sp>
          <p:nvSpPr>
            <p:cNvPr id="6" name="Rectangle 5"/>
            <p:cNvSpPr/>
            <p:nvPr/>
          </p:nvSpPr>
          <p:spPr>
            <a:xfrm>
              <a:off x="3263328" y="5196425"/>
              <a:ext cx="975204" cy="909018"/>
            </a:xfrm>
            <a:prstGeom prst="rect">
              <a:avLst/>
            </a:prstGeom>
            <a:solidFill>
              <a:srgbClr val="00A4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41" name="Graphic 40" descr="Handshake"/>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84937" y="5400990"/>
              <a:ext cx="576098" cy="576098"/>
            </a:xfrm>
            <a:prstGeom prst="rect">
              <a:avLst/>
            </a:prstGeom>
          </p:spPr>
        </p:pic>
      </p:grpSp>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9" y="6137684"/>
            <a:ext cx="1605939" cy="719424"/>
          </a:xfrm>
          <a:prstGeom prst="rect">
            <a:avLst/>
          </a:prstGeom>
        </p:spPr>
      </p:pic>
      <p:grpSp>
        <p:nvGrpSpPr>
          <p:cNvPr id="43" name="Group 42"/>
          <p:cNvGrpSpPr/>
          <p:nvPr/>
        </p:nvGrpSpPr>
        <p:grpSpPr>
          <a:xfrm>
            <a:off x="10326317" y="283079"/>
            <a:ext cx="1642877" cy="337599"/>
            <a:chOff x="4728891" y="340923"/>
            <a:chExt cx="1643305" cy="337687"/>
          </a:xfrm>
        </p:grpSpPr>
        <p:grpSp>
          <p:nvGrpSpPr>
            <p:cNvPr id="46" name="Group 45"/>
            <p:cNvGrpSpPr/>
            <p:nvPr/>
          </p:nvGrpSpPr>
          <p:grpSpPr>
            <a:xfrm>
              <a:off x="4728891" y="357553"/>
              <a:ext cx="344433" cy="321057"/>
              <a:chOff x="3261132" y="2230603"/>
              <a:chExt cx="975204" cy="909018"/>
            </a:xfrm>
          </p:grpSpPr>
          <p:sp>
            <p:nvSpPr>
              <p:cNvPr id="53" name="Rectangle 52"/>
              <p:cNvSpPr/>
              <p:nvPr/>
            </p:nvSpPr>
            <p:spPr>
              <a:xfrm>
                <a:off x="3261132" y="2230603"/>
                <a:ext cx="975204" cy="909018"/>
              </a:xfrm>
              <a:prstGeom prst="rect">
                <a:avLst/>
              </a:prstGeom>
              <a:solidFill>
                <a:srgbClr val="F250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54" name="Group 53"/>
              <p:cNvGrpSpPr/>
              <p:nvPr/>
            </p:nvGrpSpPr>
            <p:grpSpPr>
              <a:xfrm>
                <a:off x="3391654" y="2539200"/>
                <a:ext cx="714159" cy="339522"/>
                <a:chOff x="7738282" y="3870251"/>
                <a:chExt cx="1905101" cy="1356842"/>
              </a:xfrm>
            </p:grpSpPr>
            <p:grpSp>
              <p:nvGrpSpPr>
                <p:cNvPr id="55" name="Group 54"/>
                <p:cNvGrpSpPr>
                  <a:grpSpLocks noChangeAspect="1"/>
                </p:cNvGrpSpPr>
                <p:nvPr/>
              </p:nvGrpSpPr>
              <p:grpSpPr>
                <a:xfrm>
                  <a:off x="7738282" y="4297584"/>
                  <a:ext cx="250611" cy="929509"/>
                  <a:chOff x="4951413" y="-951111"/>
                  <a:chExt cx="2281237" cy="5776913"/>
                </a:xfrm>
              </p:grpSpPr>
              <p:sp>
                <p:nvSpPr>
                  <p:cNvPr id="7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6" name="Group 55"/>
                <p:cNvGrpSpPr>
                  <a:grpSpLocks noChangeAspect="1"/>
                </p:cNvGrpSpPr>
                <p:nvPr/>
              </p:nvGrpSpPr>
              <p:grpSpPr>
                <a:xfrm>
                  <a:off x="8133879" y="3870251"/>
                  <a:ext cx="250611" cy="929509"/>
                  <a:chOff x="4951413" y="-951111"/>
                  <a:chExt cx="2281237" cy="5776913"/>
                </a:xfrm>
              </p:grpSpPr>
              <p:sp>
                <p:nvSpPr>
                  <p:cNvPr id="69"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0"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7" name="Group 56"/>
                <p:cNvGrpSpPr>
                  <a:grpSpLocks noChangeAspect="1"/>
                </p:cNvGrpSpPr>
                <p:nvPr/>
              </p:nvGrpSpPr>
              <p:grpSpPr>
                <a:xfrm>
                  <a:off x="8448602" y="3870251"/>
                  <a:ext cx="250611" cy="929509"/>
                  <a:chOff x="4951413" y="-951111"/>
                  <a:chExt cx="2281237" cy="5776913"/>
                </a:xfrm>
              </p:grpSpPr>
              <p:sp>
                <p:nvSpPr>
                  <p:cNvPr id="67"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8"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8" name="Group 57"/>
                <p:cNvGrpSpPr>
                  <a:grpSpLocks noChangeAspect="1"/>
                </p:cNvGrpSpPr>
                <p:nvPr/>
              </p:nvGrpSpPr>
              <p:grpSpPr>
                <a:xfrm>
                  <a:off x="8763325" y="3870251"/>
                  <a:ext cx="250611" cy="929509"/>
                  <a:chOff x="4951413" y="-951111"/>
                  <a:chExt cx="2281237" cy="5776913"/>
                </a:xfrm>
              </p:grpSpPr>
              <p:sp>
                <p:nvSpPr>
                  <p:cNvPr id="65"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6"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9" name="Group 58"/>
                <p:cNvGrpSpPr>
                  <a:grpSpLocks noChangeAspect="1"/>
                </p:cNvGrpSpPr>
                <p:nvPr/>
              </p:nvGrpSpPr>
              <p:grpSpPr>
                <a:xfrm>
                  <a:off x="9078048" y="3870251"/>
                  <a:ext cx="250611" cy="929509"/>
                  <a:chOff x="4951413" y="-951111"/>
                  <a:chExt cx="2281237" cy="5776913"/>
                </a:xfrm>
              </p:grpSpPr>
              <p:sp>
                <p:nvSpPr>
                  <p:cNvPr id="63"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4" name="Freeform 17"/>
                  <p:cNvSpPr>
                    <a:spLocks/>
                  </p:cNvSpPr>
                  <p:nvPr/>
                </p:nvSpPr>
                <p:spPr bwMode="auto">
                  <a:xfrm>
                    <a:off x="4951413" y="120456"/>
                    <a:ext cx="2281237" cy="4705346"/>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60" name="Group 59"/>
                <p:cNvGrpSpPr>
                  <a:grpSpLocks noChangeAspect="1"/>
                </p:cNvGrpSpPr>
                <p:nvPr/>
              </p:nvGrpSpPr>
              <p:grpSpPr>
                <a:xfrm>
                  <a:off x="9392772" y="3870251"/>
                  <a:ext cx="250611" cy="929509"/>
                  <a:chOff x="4951413" y="-951111"/>
                  <a:chExt cx="2281237" cy="5776913"/>
                </a:xfrm>
              </p:grpSpPr>
              <p:sp>
                <p:nvSpPr>
                  <p:cNvPr id="6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grpSp>
        <p:sp>
          <p:nvSpPr>
            <p:cNvPr id="51" name="Rectangle 50"/>
            <p:cNvSpPr/>
            <p:nvPr/>
          </p:nvSpPr>
          <p:spPr>
            <a:xfrm>
              <a:off x="5594348" y="340924"/>
              <a:ext cx="348332" cy="321057"/>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48" name="Group 47"/>
            <p:cNvGrpSpPr/>
            <p:nvPr/>
          </p:nvGrpSpPr>
          <p:grpSpPr>
            <a:xfrm>
              <a:off x="6027763" y="340923"/>
              <a:ext cx="344433" cy="321057"/>
              <a:chOff x="3263328" y="5196425"/>
              <a:chExt cx="975204" cy="909018"/>
            </a:xfrm>
          </p:grpSpPr>
          <p:sp>
            <p:nvSpPr>
              <p:cNvPr id="49" name="Rectangle 48"/>
              <p:cNvSpPr/>
              <p:nvPr/>
            </p:nvSpPr>
            <p:spPr>
              <a:xfrm>
                <a:off x="3263328" y="5196425"/>
                <a:ext cx="975204" cy="909018"/>
              </a:xfrm>
              <a:prstGeom prst="rect">
                <a:avLst/>
              </a:prstGeom>
              <a:solidFill>
                <a:srgbClr val="00A4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50" name="Graphic 49" descr="Handshake"/>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84937" y="5400990"/>
                <a:ext cx="576098" cy="576098"/>
              </a:xfrm>
              <a:prstGeom prst="rect">
                <a:avLst/>
              </a:prstGeom>
            </p:spPr>
          </p:pic>
        </p:grpSp>
      </p:grpSp>
      <p:grpSp>
        <p:nvGrpSpPr>
          <p:cNvPr id="11" name="Group 10">
            <a:extLst>
              <a:ext uri="{FF2B5EF4-FFF2-40B4-BE49-F238E27FC236}">
                <a16:creationId xmlns:a16="http://schemas.microsoft.com/office/drawing/2014/main" id="{1ECE2705-C84F-4504-9186-B9066922521C}"/>
              </a:ext>
            </a:extLst>
          </p:cNvPr>
          <p:cNvGrpSpPr/>
          <p:nvPr/>
        </p:nvGrpSpPr>
        <p:grpSpPr>
          <a:xfrm>
            <a:off x="3503723" y="2589925"/>
            <a:ext cx="985985" cy="908781"/>
            <a:chOff x="1608156" y="2246498"/>
            <a:chExt cx="985985" cy="908781"/>
          </a:xfrm>
        </p:grpSpPr>
        <p:sp>
          <p:nvSpPr>
            <p:cNvPr id="75" name="Rectangle 74">
              <a:extLst>
                <a:ext uri="{FF2B5EF4-FFF2-40B4-BE49-F238E27FC236}">
                  <a16:creationId xmlns:a16="http://schemas.microsoft.com/office/drawing/2014/main" id="{30726E91-A62F-4894-B26A-1D36D8718B45}"/>
                </a:ext>
              </a:extLst>
            </p:cNvPr>
            <p:cNvSpPr/>
            <p:nvPr/>
          </p:nvSpPr>
          <p:spPr>
            <a:xfrm>
              <a:off x="1608156" y="2246498"/>
              <a:ext cx="985985" cy="9087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7172" name="Picture 4" descr="Resultado de imagem para azure icon">
              <a:extLst>
                <a:ext uri="{FF2B5EF4-FFF2-40B4-BE49-F238E27FC236}">
                  <a16:creationId xmlns:a16="http://schemas.microsoft.com/office/drawing/2014/main" id="{BFE80674-8AB5-4E3E-B330-3C8DFA1F6B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930" y="2311437"/>
              <a:ext cx="830436" cy="8304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a:extLst>
              <a:ext uri="{FF2B5EF4-FFF2-40B4-BE49-F238E27FC236}">
                <a16:creationId xmlns:a16="http://schemas.microsoft.com/office/drawing/2014/main" id="{99DD076C-C715-4ED4-8F0E-0098AF5286D4}"/>
              </a:ext>
            </a:extLst>
          </p:cNvPr>
          <p:cNvGrpSpPr/>
          <p:nvPr/>
        </p:nvGrpSpPr>
        <p:grpSpPr>
          <a:xfrm>
            <a:off x="10714578" y="291393"/>
            <a:ext cx="335510" cy="320973"/>
            <a:chOff x="1608156" y="2246498"/>
            <a:chExt cx="985985" cy="908781"/>
          </a:xfrm>
        </p:grpSpPr>
        <p:sp>
          <p:nvSpPr>
            <p:cNvPr id="77" name="Rectangle 76">
              <a:extLst>
                <a:ext uri="{FF2B5EF4-FFF2-40B4-BE49-F238E27FC236}">
                  <a16:creationId xmlns:a16="http://schemas.microsoft.com/office/drawing/2014/main" id="{1E3B78FF-2AE5-40C1-8D2C-479C515C582B}"/>
                </a:ext>
              </a:extLst>
            </p:cNvPr>
            <p:cNvSpPr/>
            <p:nvPr/>
          </p:nvSpPr>
          <p:spPr>
            <a:xfrm>
              <a:off x="1608156" y="2246498"/>
              <a:ext cx="985985" cy="9087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78" name="Picture 4" descr="Resultado de imagem para azure icon">
              <a:extLst>
                <a:ext uri="{FF2B5EF4-FFF2-40B4-BE49-F238E27FC236}">
                  <a16:creationId xmlns:a16="http://schemas.microsoft.com/office/drawing/2014/main" id="{0B0F73F2-4CEC-4F8E-9CED-4A53A0AAF3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930" y="2311437"/>
              <a:ext cx="830436" cy="830436"/>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Resultado de imagem para power bi logo">
            <a:extLst>
              <a:ext uri="{FF2B5EF4-FFF2-40B4-BE49-F238E27FC236}">
                <a16:creationId xmlns:a16="http://schemas.microsoft.com/office/drawing/2014/main" id="{B2931FD9-2C02-4396-A127-8D702FBE33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4746" y="3689812"/>
            <a:ext cx="766156" cy="766156"/>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Resultado de imagem para power bi logo">
            <a:extLst>
              <a:ext uri="{FF2B5EF4-FFF2-40B4-BE49-F238E27FC236}">
                <a16:creationId xmlns:a16="http://schemas.microsoft.com/office/drawing/2014/main" id="{04AB4255-429E-42E8-9014-E002EAF8C8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0628" y="336838"/>
            <a:ext cx="230081" cy="230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95077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Power BI product portfolio</a:t>
            </a:r>
          </a:p>
        </p:txBody>
      </p:sp>
      <p:sp>
        <p:nvSpPr>
          <p:cNvPr id="47" name="Rectangle 46">
            <a:extLst>
              <a:ext uri="{FF2B5EF4-FFF2-40B4-BE49-F238E27FC236}">
                <a16:creationId xmlns:a16="http://schemas.microsoft.com/office/drawing/2014/main" id="{C6C8ED6C-0C81-4729-A190-BEF2E3AA5F5F}"/>
              </a:ext>
            </a:extLst>
          </p:cNvPr>
          <p:cNvSpPr/>
          <p:nvPr/>
        </p:nvSpPr>
        <p:spPr bwMode="auto">
          <a:xfrm>
            <a:off x="3857212" y="3310879"/>
            <a:ext cx="2072198"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a:t>
            </a:r>
          </a:p>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ro</a:t>
            </a:r>
          </a:p>
        </p:txBody>
      </p:sp>
      <p:sp>
        <p:nvSpPr>
          <p:cNvPr id="48" name="TextBox 47">
            <a:extLst>
              <a:ext uri="{FF2B5EF4-FFF2-40B4-BE49-F238E27FC236}">
                <a16:creationId xmlns:a16="http://schemas.microsoft.com/office/drawing/2014/main" id="{137E94A2-3EDC-46C3-BC9B-0B80D221D8BD}"/>
              </a:ext>
            </a:extLst>
          </p:cNvPr>
          <p:cNvSpPr txBox="1"/>
          <p:nvPr/>
        </p:nvSpPr>
        <p:spPr>
          <a:xfrm>
            <a:off x="3861133" y="4417457"/>
            <a:ext cx="2043553" cy="1181862"/>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Quick, easy-to-use self-service analytics for users requiring collaboration, dashboard sharing, ad hoc analysis, and report publishing</a:t>
            </a:r>
          </a:p>
        </p:txBody>
      </p:sp>
      <p:sp>
        <p:nvSpPr>
          <p:cNvPr id="49" name="Rectangle 48">
            <a:extLst>
              <a:ext uri="{FF2B5EF4-FFF2-40B4-BE49-F238E27FC236}">
                <a16:creationId xmlns:a16="http://schemas.microsoft.com/office/drawing/2014/main" id="{ED298474-7361-4499-A390-2E6EEB112E07}"/>
              </a:ext>
            </a:extLst>
          </p:cNvPr>
          <p:cNvSpPr/>
          <p:nvPr/>
        </p:nvSpPr>
        <p:spPr bwMode="auto">
          <a:xfrm>
            <a:off x="6265788" y="3310879"/>
            <a:ext cx="2041062"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a:t>
            </a:r>
          </a:p>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remium</a:t>
            </a:r>
          </a:p>
        </p:txBody>
      </p:sp>
      <p:sp>
        <p:nvSpPr>
          <p:cNvPr id="50" name="TextBox 49">
            <a:extLst>
              <a:ext uri="{FF2B5EF4-FFF2-40B4-BE49-F238E27FC236}">
                <a16:creationId xmlns:a16="http://schemas.microsoft.com/office/drawing/2014/main" id="{DA455580-854D-48E9-9218-2E24EC65DC18}"/>
              </a:ext>
            </a:extLst>
          </p:cNvPr>
          <p:cNvSpPr txBox="1"/>
          <p:nvPr/>
        </p:nvSpPr>
        <p:spPr>
          <a:xfrm>
            <a:off x="6237423" y="4417457"/>
            <a:ext cx="2059354" cy="683264"/>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Dedicated capacity for increased performance of Pro Licenses</a:t>
            </a:r>
          </a:p>
        </p:txBody>
      </p:sp>
      <p:sp>
        <p:nvSpPr>
          <p:cNvPr id="51" name="Rectangle 50">
            <a:extLst>
              <a:ext uri="{FF2B5EF4-FFF2-40B4-BE49-F238E27FC236}">
                <a16:creationId xmlns:a16="http://schemas.microsoft.com/office/drawing/2014/main" id="{55400F43-21D7-4E75-8625-7E2DEC5B3CC0}"/>
              </a:ext>
            </a:extLst>
          </p:cNvPr>
          <p:cNvSpPr/>
          <p:nvPr/>
        </p:nvSpPr>
        <p:spPr bwMode="auto">
          <a:xfrm>
            <a:off x="1455046" y="3310879"/>
            <a:ext cx="206033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a:t>
            </a:r>
          </a:p>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Desktop</a:t>
            </a:r>
          </a:p>
        </p:txBody>
      </p:sp>
      <p:sp>
        <p:nvSpPr>
          <p:cNvPr id="52" name="TextBox 51">
            <a:extLst>
              <a:ext uri="{FF2B5EF4-FFF2-40B4-BE49-F238E27FC236}">
                <a16:creationId xmlns:a16="http://schemas.microsoft.com/office/drawing/2014/main" id="{6E87571D-A6E3-4D7C-81ED-A865AC2AA7A4}"/>
              </a:ext>
            </a:extLst>
          </p:cNvPr>
          <p:cNvSpPr txBox="1"/>
          <p:nvPr/>
        </p:nvSpPr>
        <p:spPr>
          <a:xfrm>
            <a:off x="1455046" y="4417457"/>
            <a:ext cx="2054187" cy="5170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Free data analysis </a:t>
            </a:r>
            <a:br>
              <a:rPr lang="en-US" sz="1200" dirty="0">
                <a:gradFill>
                  <a:gsLst>
                    <a:gs pos="2917">
                      <a:schemeClr val="accent5"/>
                    </a:gs>
                    <a:gs pos="30000">
                      <a:schemeClr val="tx1"/>
                    </a:gs>
                  </a:gsLst>
                  <a:lin ang="5400000" scaled="0"/>
                </a:gradFill>
              </a:rPr>
            </a:br>
            <a:r>
              <a:rPr lang="en-US" sz="1200" dirty="0">
                <a:gradFill>
                  <a:gsLst>
                    <a:gs pos="2917">
                      <a:schemeClr val="accent5"/>
                    </a:gs>
                    <a:gs pos="30000">
                      <a:schemeClr val="tx1"/>
                    </a:gs>
                  </a:gsLst>
                  <a:lin ang="5400000" scaled="0"/>
                </a:gradFill>
              </a:rPr>
              <a:t>and report authoring tool</a:t>
            </a:r>
          </a:p>
        </p:txBody>
      </p:sp>
      <p:sp>
        <p:nvSpPr>
          <p:cNvPr id="53" name="Laptop_E770">
            <a:extLst>
              <a:ext uri="{FF2B5EF4-FFF2-40B4-BE49-F238E27FC236}">
                <a16:creationId xmlns:a16="http://schemas.microsoft.com/office/drawing/2014/main" id="{779E1B97-3959-48D9-BEFD-1661A0000270}"/>
              </a:ext>
            </a:extLst>
          </p:cNvPr>
          <p:cNvSpPr>
            <a:spLocks noChangeAspect="1" noEditPoints="1"/>
          </p:cNvSpPr>
          <p:nvPr/>
        </p:nvSpPr>
        <p:spPr bwMode="auto">
          <a:xfrm>
            <a:off x="2117236" y="2877205"/>
            <a:ext cx="630815" cy="420928"/>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cloud_2">
            <a:extLst>
              <a:ext uri="{FF2B5EF4-FFF2-40B4-BE49-F238E27FC236}">
                <a16:creationId xmlns:a16="http://schemas.microsoft.com/office/drawing/2014/main" id="{19E032FE-3C47-440F-A64E-55626B22BD22}"/>
              </a:ext>
            </a:extLst>
          </p:cNvPr>
          <p:cNvSpPr>
            <a:spLocks noChangeAspect="1" noEditPoints="1"/>
          </p:cNvSpPr>
          <p:nvPr/>
        </p:nvSpPr>
        <p:spPr bwMode="auto">
          <a:xfrm>
            <a:off x="4449832" y="2866884"/>
            <a:ext cx="765186" cy="44157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cxnSp>
        <p:nvCxnSpPr>
          <p:cNvPr id="55" name="Straight Connector 54">
            <a:extLst>
              <a:ext uri="{FF2B5EF4-FFF2-40B4-BE49-F238E27FC236}">
                <a16:creationId xmlns:a16="http://schemas.microsoft.com/office/drawing/2014/main" id="{31F12B08-A6F8-401D-8A88-2010623DF1B9}"/>
              </a:ext>
            </a:extLst>
          </p:cNvPr>
          <p:cNvCxnSpPr>
            <a:cxnSpLocks/>
          </p:cNvCxnSpPr>
          <p:nvPr/>
        </p:nvCxnSpPr>
        <p:spPr>
          <a:xfrm>
            <a:off x="1455046" y="4305221"/>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349BBB51-A5B2-4525-8593-1863DC535B09}"/>
              </a:ext>
            </a:extLst>
          </p:cNvPr>
          <p:cNvSpPr txBox="1"/>
          <p:nvPr/>
        </p:nvSpPr>
        <p:spPr>
          <a:xfrm>
            <a:off x="1455047" y="2101022"/>
            <a:ext cx="2062580"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Author</a:t>
            </a:r>
          </a:p>
        </p:txBody>
      </p:sp>
      <p:sp>
        <p:nvSpPr>
          <p:cNvPr id="59" name="TextBox 58">
            <a:extLst>
              <a:ext uri="{FF2B5EF4-FFF2-40B4-BE49-F238E27FC236}">
                <a16:creationId xmlns:a16="http://schemas.microsoft.com/office/drawing/2014/main" id="{BC26ACB5-AF04-4AAD-9C22-DA348F25FA2D}"/>
              </a:ext>
            </a:extLst>
          </p:cNvPr>
          <p:cNvSpPr txBox="1"/>
          <p:nvPr/>
        </p:nvSpPr>
        <p:spPr>
          <a:xfrm>
            <a:off x="3890724" y="2101022"/>
            <a:ext cx="2020394"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Share and collaborate</a:t>
            </a:r>
          </a:p>
        </p:txBody>
      </p:sp>
      <p:sp>
        <p:nvSpPr>
          <p:cNvPr id="60" name="TextBox 59">
            <a:extLst>
              <a:ext uri="{FF2B5EF4-FFF2-40B4-BE49-F238E27FC236}">
                <a16:creationId xmlns:a16="http://schemas.microsoft.com/office/drawing/2014/main" id="{C915886C-0B3C-4721-8ACF-57A745F3B503}"/>
              </a:ext>
            </a:extLst>
          </p:cNvPr>
          <p:cNvSpPr txBox="1"/>
          <p:nvPr/>
        </p:nvSpPr>
        <p:spPr>
          <a:xfrm>
            <a:off x="6256980" y="2101022"/>
            <a:ext cx="2059355" cy="350865"/>
          </a:xfrm>
          <a:prstGeom prst="rect">
            <a:avLst/>
          </a:prstGeom>
          <a:noFill/>
        </p:spPr>
        <p:txBody>
          <a:bodyPr wrap="square" lIns="146304" tIns="91440" rIns="146304" bIns="91440" rtlCol="0">
            <a:spAutoFit/>
          </a:bodyPr>
          <a:lstStyle/>
          <a:p>
            <a:pP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Large scale deployments</a:t>
            </a:r>
          </a:p>
        </p:txBody>
      </p:sp>
      <p:sp>
        <p:nvSpPr>
          <p:cNvPr id="61" name="EMI_E731">
            <a:extLst>
              <a:ext uri="{FF2B5EF4-FFF2-40B4-BE49-F238E27FC236}">
                <a16:creationId xmlns:a16="http://schemas.microsoft.com/office/drawing/2014/main" id="{EEFC37CE-28CE-44E7-90DA-65F08E1FB12E}"/>
              </a:ext>
            </a:extLst>
          </p:cNvPr>
          <p:cNvSpPr>
            <a:spLocks noChangeAspect="1" noEditPoints="1"/>
          </p:cNvSpPr>
          <p:nvPr/>
        </p:nvSpPr>
        <p:spPr bwMode="auto">
          <a:xfrm>
            <a:off x="7143722" y="2833377"/>
            <a:ext cx="339609" cy="551747"/>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62" name="Straight Connector 61">
            <a:extLst>
              <a:ext uri="{FF2B5EF4-FFF2-40B4-BE49-F238E27FC236}">
                <a16:creationId xmlns:a16="http://schemas.microsoft.com/office/drawing/2014/main" id="{318563BC-37D4-4508-A395-5ED869AD3139}"/>
              </a:ext>
            </a:extLst>
          </p:cNvPr>
          <p:cNvCxnSpPr>
            <a:cxnSpLocks/>
          </p:cNvCxnSpPr>
          <p:nvPr/>
        </p:nvCxnSpPr>
        <p:spPr>
          <a:xfrm>
            <a:off x="3851763" y="4306061"/>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A884E1E-CA6E-43E1-8B3A-DB59234D6546}"/>
              </a:ext>
            </a:extLst>
          </p:cNvPr>
          <p:cNvCxnSpPr>
            <a:cxnSpLocks/>
          </p:cNvCxnSpPr>
          <p:nvPr/>
        </p:nvCxnSpPr>
        <p:spPr>
          <a:xfrm>
            <a:off x="6248480" y="4306901"/>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4CE6CD7-30A6-4BB8-BE3C-03D62C4D0B75}"/>
              </a:ext>
            </a:extLst>
          </p:cNvPr>
          <p:cNvCxnSpPr>
            <a:cxnSpLocks/>
          </p:cNvCxnSpPr>
          <p:nvPr/>
        </p:nvCxnSpPr>
        <p:spPr>
          <a:xfrm>
            <a:off x="8572488" y="4306793"/>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0C843FD0-0D7C-4448-B030-46D5DC1C21C0}"/>
              </a:ext>
            </a:extLst>
          </p:cNvPr>
          <p:cNvSpPr/>
          <p:nvPr/>
        </p:nvSpPr>
        <p:spPr bwMode="auto">
          <a:xfrm>
            <a:off x="8580241" y="3314143"/>
            <a:ext cx="2041062"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Embedded</a:t>
            </a:r>
          </a:p>
        </p:txBody>
      </p:sp>
      <p:sp>
        <p:nvSpPr>
          <p:cNvPr id="7" name="TextBox 6">
            <a:extLst>
              <a:ext uri="{FF2B5EF4-FFF2-40B4-BE49-F238E27FC236}">
                <a16:creationId xmlns:a16="http://schemas.microsoft.com/office/drawing/2014/main" id="{97D5DBD8-BF33-40AF-B21B-EEE85F106059}"/>
              </a:ext>
            </a:extLst>
          </p:cNvPr>
          <p:cNvSpPr txBox="1"/>
          <p:nvPr/>
        </p:nvSpPr>
        <p:spPr>
          <a:xfrm>
            <a:off x="9217219" y="2688936"/>
            <a:ext cx="89672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t;/&gt;</a:t>
            </a:r>
          </a:p>
        </p:txBody>
      </p:sp>
      <p:sp>
        <p:nvSpPr>
          <p:cNvPr id="116" name="TextBox 115">
            <a:extLst>
              <a:ext uri="{FF2B5EF4-FFF2-40B4-BE49-F238E27FC236}">
                <a16:creationId xmlns:a16="http://schemas.microsoft.com/office/drawing/2014/main" id="{177A6669-3961-4412-9963-3E52821962FE}"/>
              </a:ext>
            </a:extLst>
          </p:cNvPr>
          <p:cNvSpPr txBox="1"/>
          <p:nvPr/>
        </p:nvSpPr>
        <p:spPr>
          <a:xfrm>
            <a:off x="8615847" y="2101022"/>
            <a:ext cx="2020394"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App dev </a:t>
            </a:r>
          </a:p>
        </p:txBody>
      </p:sp>
      <p:sp>
        <p:nvSpPr>
          <p:cNvPr id="118" name="TextBox 117">
            <a:extLst>
              <a:ext uri="{FF2B5EF4-FFF2-40B4-BE49-F238E27FC236}">
                <a16:creationId xmlns:a16="http://schemas.microsoft.com/office/drawing/2014/main" id="{AD3272CA-D13B-4136-9E57-A34BA2923764}"/>
              </a:ext>
            </a:extLst>
          </p:cNvPr>
          <p:cNvSpPr txBox="1"/>
          <p:nvPr/>
        </p:nvSpPr>
        <p:spPr>
          <a:xfrm>
            <a:off x="8580861" y="4426423"/>
            <a:ext cx="2059354" cy="5170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Visual analytics embedded in your applications</a:t>
            </a:r>
          </a:p>
        </p:txBody>
      </p:sp>
      <p:sp>
        <p:nvSpPr>
          <p:cNvPr id="56" name="TextBox 55">
            <a:extLst>
              <a:ext uri="{FF2B5EF4-FFF2-40B4-BE49-F238E27FC236}">
                <a16:creationId xmlns:a16="http://schemas.microsoft.com/office/drawing/2014/main" id="{2D689BAC-E645-4C57-BEC7-F3323C6756DB}"/>
              </a:ext>
            </a:extLst>
          </p:cNvPr>
          <p:cNvSpPr txBox="1"/>
          <p:nvPr/>
        </p:nvSpPr>
        <p:spPr>
          <a:xfrm>
            <a:off x="1477521" y="4003538"/>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User</a:t>
            </a:r>
          </a:p>
        </p:txBody>
      </p:sp>
      <p:sp>
        <p:nvSpPr>
          <p:cNvPr id="57" name="TextBox 56">
            <a:extLst>
              <a:ext uri="{FF2B5EF4-FFF2-40B4-BE49-F238E27FC236}">
                <a16:creationId xmlns:a16="http://schemas.microsoft.com/office/drawing/2014/main" id="{E930095F-B357-4471-AB9E-7153CD19C586}"/>
              </a:ext>
            </a:extLst>
          </p:cNvPr>
          <p:cNvSpPr txBox="1"/>
          <p:nvPr/>
        </p:nvSpPr>
        <p:spPr>
          <a:xfrm>
            <a:off x="3899152" y="4003538"/>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User</a:t>
            </a:r>
          </a:p>
        </p:txBody>
      </p:sp>
      <p:sp>
        <p:nvSpPr>
          <p:cNvPr id="67" name="TextBox 66">
            <a:extLst>
              <a:ext uri="{FF2B5EF4-FFF2-40B4-BE49-F238E27FC236}">
                <a16:creationId xmlns:a16="http://schemas.microsoft.com/office/drawing/2014/main" id="{B57ADFA7-2C96-4CD5-8D13-A4A629284E07}"/>
              </a:ext>
            </a:extLst>
          </p:cNvPr>
          <p:cNvSpPr txBox="1"/>
          <p:nvPr/>
        </p:nvSpPr>
        <p:spPr>
          <a:xfrm>
            <a:off x="6296854" y="4003537"/>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Capacity</a:t>
            </a:r>
          </a:p>
        </p:txBody>
      </p:sp>
      <p:sp>
        <p:nvSpPr>
          <p:cNvPr id="70" name="TextBox 69">
            <a:extLst>
              <a:ext uri="{FF2B5EF4-FFF2-40B4-BE49-F238E27FC236}">
                <a16:creationId xmlns:a16="http://schemas.microsoft.com/office/drawing/2014/main" id="{97F17C4D-4B97-42FA-8A7B-63F8AB9AE72D}"/>
              </a:ext>
            </a:extLst>
          </p:cNvPr>
          <p:cNvSpPr txBox="1"/>
          <p:nvPr/>
        </p:nvSpPr>
        <p:spPr>
          <a:xfrm>
            <a:off x="8615847" y="3997398"/>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Capacity</a:t>
            </a:r>
          </a:p>
        </p:txBody>
      </p:sp>
    </p:spTree>
    <p:extLst>
      <p:ext uri="{BB962C8B-B14F-4D97-AF65-F5344CB8AC3E}">
        <p14:creationId xmlns:p14="http://schemas.microsoft.com/office/powerpoint/2010/main" val="7229054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BE19F4C-294B-4D81-95B2-F99E7B221BD5}"/>
              </a:ext>
            </a:extLst>
          </p:cNvPr>
          <p:cNvSpPr txBox="1">
            <a:spLocks/>
          </p:cNvSpPr>
          <p:nvPr/>
        </p:nvSpPr>
        <p:spPr>
          <a:xfrm>
            <a:off x="0" y="2848456"/>
            <a:ext cx="12192000" cy="2525307"/>
          </a:xfrm>
          <a:prstGeom prst="rect">
            <a:avLst/>
          </a:prstGeom>
          <a:noFill/>
        </p:spPr>
        <p:txBody>
          <a:bodyPr vert="horz" wrap="square"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pt-BR" sz="7050" b="0" i="0" u="none" strike="noStrike" kern="1200" cap="none" spc="-98"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Demonstração</a:t>
            </a:r>
          </a:p>
          <a:p>
            <a:pPr marL="0" marR="0" lvl="0" indent="0" algn="ctr" defTabSz="914400" rtl="0" eaLnBrk="1" fontAlgn="auto" latinLnBrk="0" hangingPunct="1">
              <a:lnSpc>
                <a:spcPct val="90000"/>
              </a:lnSpc>
              <a:spcBef>
                <a:spcPct val="0"/>
              </a:spcBef>
              <a:spcAft>
                <a:spcPts val="0"/>
              </a:spcAft>
              <a:buClrTx/>
              <a:buSzTx/>
              <a:buFontTx/>
              <a:buNone/>
              <a:tabLst/>
              <a:defRPr/>
            </a:pPr>
            <a:endParaRPr lang="pt-BR" sz="7050" dirty="0">
              <a:solidFill>
                <a:srgbClr val="FFFFFF"/>
              </a:solidFill>
              <a:latin typeface="Segoe UI Light" panose="020B0502040204020203" pitchFamily="34" charset="0"/>
              <a:cs typeface="Segoe UI Light" panose="020B0502040204020203" pitchFamily="34" charset="0"/>
            </a:endParaRPr>
          </a:p>
          <a:p>
            <a:pPr lvl="0" algn="ctr">
              <a:defRPr/>
            </a:pPr>
            <a:r>
              <a:rPr lang="en-US" sz="2400" dirty="0">
                <a:solidFill>
                  <a:schemeClr val="tx1"/>
                </a:solidFill>
                <a:hlinkClick r:id="rId3">
                  <a:extLst>
                    <a:ext uri="{A12FA001-AC4F-418D-AE19-62706E023703}">
                      <ahyp:hlinkClr xmlns:ahyp="http://schemas.microsoft.com/office/drawing/2018/hyperlinkcolor" val="tx"/>
                    </a:ext>
                  </a:extLst>
                </a:hlinkClick>
              </a:rPr>
              <a:t>https://github.com/LucasCosas/Power_BI/blob/master/Demo%20Excel/Roteiro.md</a:t>
            </a:r>
            <a:endParaRPr kumimoji="0" lang="pt-BR" sz="2800" b="0" i="0" u="none" strike="noStrike" kern="1200" cap="none" spc="-98"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429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BE19F4C-294B-4D81-95B2-F99E7B221BD5}"/>
              </a:ext>
            </a:extLst>
          </p:cNvPr>
          <p:cNvSpPr txBox="1">
            <a:spLocks/>
          </p:cNvSpPr>
          <p:nvPr/>
        </p:nvSpPr>
        <p:spPr>
          <a:xfrm>
            <a:off x="3458094" y="2848456"/>
            <a:ext cx="8733905" cy="1161087"/>
          </a:xfrm>
          <a:prstGeom prst="rect">
            <a:avLst/>
          </a:prstGeom>
          <a:noFill/>
        </p:spPr>
        <p:txBody>
          <a:bodyPr vert="horz" wrap="square"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pt-BR" sz="7050" b="0" i="0" u="none" strike="noStrike" kern="1200" cap="none" spc="-98"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Obrigado!</a:t>
            </a:r>
          </a:p>
        </p:txBody>
      </p:sp>
      <p:sp>
        <p:nvSpPr>
          <p:cNvPr id="4" name="Title 1">
            <a:extLst>
              <a:ext uri="{FF2B5EF4-FFF2-40B4-BE49-F238E27FC236}">
                <a16:creationId xmlns:a16="http://schemas.microsoft.com/office/drawing/2014/main" id="{3CCE569B-96A2-481C-ADA9-A234437056EB}"/>
              </a:ext>
            </a:extLst>
          </p:cNvPr>
          <p:cNvSpPr txBox="1">
            <a:spLocks/>
          </p:cNvSpPr>
          <p:nvPr/>
        </p:nvSpPr>
        <p:spPr>
          <a:xfrm>
            <a:off x="269239" y="2084172"/>
            <a:ext cx="11653523" cy="115879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Calibri Light" panose="020F0302020204030204"/>
                <a:ea typeface="+mj-ea"/>
                <a:cs typeface="+mj-cs"/>
              </a:rPr>
              <a:t>Q&amp;A</a:t>
            </a:r>
          </a:p>
        </p:txBody>
      </p:sp>
      <p:sp>
        <p:nvSpPr>
          <p:cNvPr id="5" name="TextBox 4">
            <a:extLst>
              <a:ext uri="{FF2B5EF4-FFF2-40B4-BE49-F238E27FC236}">
                <a16:creationId xmlns:a16="http://schemas.microsoft.com/office/drawing/2014/main" id="{74B75DA7-FE35-48FD-97BA-C6B576964654}"/>
              </a:ext>
            </a:extLst>
          </p:cNvPr>
          <p:cNvSpPr txBox="1"/>
          <p:nvPr/>
        </p:nvSpPr>
        <p:spPr>
          <a:xfrm>
            <a:off x="465513" y="4206240"/>
            <a:ext cx="4896196" cy="1477328"/>
          </a:xfrm>
          <a:prstGeom prst="rect">
            <a:avLst/>
          </a:prstGeom>
          <a:noFill/>
        </p:spPr>
        <p:txBody>
          <a:bodyPr wrap="square" rtlCol="0">
            <a:spAutoFit/>
          </a:bodyPr>
          <a:lstStyle/>
          <a:p>
            <a:r>
              <a:rPr lang="pt-BR" b="1" dirty="0"/>
              <a:t>Lucas Cosas</a:t>
            </a:r>
          </a:p>
          <a:p>
            <a:r>
              <a:rPr lang="pt-BR" b="1" dirty="0"/>
              <a:t>Cloud Solutions Architect – Data and AI</a:t>
            </a:r>
          </a:p>
          <a:p>
            <a:endParaRPr lang="pt-BR" b="1" dirty="0"/>
          </a:p>
          <a:p>
            <a:r>
              <a:rPr lang="pt-BR" b="1" dirty="0"/>
              <a:t>lucosas@microsoft.com</a:t>
            </a:r>
          </a:p>
          <a:p>
            <a:r>
              <a:rPr lang="en-US" b="1" dirty="0"/>
              <a:t>in/</a:t>
            </a:r>
            <a:r>
              <a:rPr lang="en-US" b="1" dirty="0" err="1"/>
              <a:t>lucas-cosas</a:t>
            </a:r>
            <a:endParaRPr lang="en-US" b="1" dirty="0"/>
          </a:p>
        </p:txBody>
      </p:sp>
    </p:spTree>
    <p:extLst>
      <p:ext uri="{BB962C8B-B14F-4D97-AF65-F5344CB8AC3E}">
        <p14:creationId xmlns:p14="http://schemas.microsoft.com/office/powerpoint/2010/main" val="354238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Cloud</a:t>
            </a:r>
          </a:p>
        </p:txBody>
      </p:sp>
      <p:sp>
        <p:nvSpPr>
          <p:cNvPr id="17" name="TextBox 16"/>
          <p:cNvSpPr txBox="1"/>
          <p:nvPr/>
        </p:nvSpPr>
        <p:spPr>
          <a:xfrm>
            <a:off x="5018755" y="3187855"/>
            <a:ext cx="5651905" cy="584775"/>
          </a:xfrm>
          <a:prstGeom prst="rect">
            <a:avLst/>
          </a:prstGeom>
          <a:noFill/>
        </p:spPr>
        <p:txBody>
          <a:bodyPr wrap="square" rtlCol="0">
            <a:spAutoFit/>
          </a:bodyPr>
          <a:lstStyle/>
          <a:p>
            <a:pPr defTabSz="914363"/>
            <a:r>
              <a:rPr lang="en-US" sz="3200" dirty="0">
                <a:solidFill>
                  <a:srgbClr val="000000"/>
                </a:solidFill>
                <a:latin typeface="Segoe UI Light" panose="020B0502040204020203" pitchFamily="34" charset="0"/>
                <a:cs typeface="Segoe UI Light" panose="020B0502040204020203" pitchFamily="34" charset="0"/>
              </a:rPr>
              <a:t>Microsoft Azure</a:t>
            </a: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6137684"/>
            <a:ext cx="1605939" cy="719424"/>
          </a:xfrm>
          <a:prstGeom prst="rect">
            <a:avLst/>
          </a:prstGeom>
        </p:spPr>
      </p:pic>
      <p:grpSp>
        <p:nvGrpSpPr>
          <p:cNvPr id="43" name="Group 42"/>
          <p:cNvGrpSpPr/>
          <p:nvPr/>
        </p:nvGrpSpPr>
        <p:grpSpPr>
          <a:xfrm>
            <a:off x="10326317" y="283079"/>
            <a:ext cx="1642877" cy="337599"/>
            <a:chOff x="4728891" y="340923"/>
            <a:chExt cx="1643305" cy="337687"/>
          </a:xfrm>
        </p:grpSpPr>
        <p:grpSp>
          <p:nvGrpSpPr>
            <p:cNvPr id="46" name="Group 45"/>
            <p:cNvGrpSpPr/>
            <p:nvPr/>
          </p:nvGrpSpPr>
          <p:grpSpPr>
            <a:xfrm>
              <a:off x="4728891" y="357553"/>
              <a:ext cx="344433" cy="321057"/>
              <a:chOff x="3261132" y="2230603"/>
              <a:chExt cx="975204" cy="909018"/>
            </a:xfrm>
          </p:grpSpPr>
          <p:sp>
            <p:nvSpPr>
              <p:cNvPr id="53" name="Rectangle 52"/>
              <p:cNvSpPr/>
              <p:nvPr/>
            </p:nvSpPr>
            <p:spPr>
              <a:xfrm>
                <a:off x="3261132" y="2230603"/>
                <a:ext cx="975204" cy="909018"/>
              </a:xfrm>
              <a:prstGeom prst="rect">
                <a:avLst/>
              </a:prstGeom>
              <a:solidFill>
                <a:srgbClr val="F250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54" name="Group 53"/>
              <p:cNvGrpSpPr/>
              <p:nvPr/>
            </p:nvGrpSpPr>
            <p:grpSpPr>
              <a:xfrm>
                <a:off x="3391654" y="2539200"/>
                <a:ext cx="714159" cy="339522"/>
                <a:chOff x="7738282" y="3870251"/>
                <a:chExt cx="1905101" cy="1356842"/>
              </a:xfrm>
            </p:grpSpPr>
            <p:grpSp>
              <p:nvGrpSpPr>
                <p:cNvPr id="55" name="Group 54"/>
                <p:cNvGrpSpPr>
                  <a:grpSpLocks noChangeAspect="1"/>
                </p:cNvGrpSpPr>
                <p:nvPr/>
              </p:nvGrpSpPr>
              <p:grpSpPr>
                <a:xfrm>
                  <a:off x="7738282" y="4297584"/>
                  <a:ext cx="250611" cy="929509"/>
                  <a:chOff x="4951413" y="-951111"/>
                  <a:chExt cx="2281237" cy="5776913"/>
                </a:xfrm>
              </p:grpSpPr>
              <p:sp>
                <p:nvSpPr>
                  <p:cNvPr id="7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6" name="Group 55"/>
                <p:cNvGrpSpPr>
                  <a:grpSpLocks noChangeAspect="1"/>
                </p:cNvGrpSpPr>
                <p:nvPr/>
              </p:nvGrpSpPr>
              <p:grpSpPr>
                <a:xfrm>
                  <a:off x="8133879" y="3870251"/>
                  <a:ext cx="250611" cy="929509"/>
                  <a:chOff x="4951413" y="-951111"/>
                  <a:chExt cx="2281237" cy="5776913"/>
                </a:xfrm>
              </p:grpSpPr>
              <p:sp>
                <p:nvSpPr>
                  <p:cNvPr id="69"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0"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7" name="Group 56"/>
                <p:cNvGrpSpPr>
                  <a:grpSpLocks noChangeAspect="1"/>
                </p:cNvGrpSpPr>
                <p:nvPr/>
              </p:nvGrpSpPr>
              <p:grpSpPr>
                <a:xfrm>
                  <a:off x="8448602" y="3870251"/>
                  <a:ext cx="250611" cy="929509"/>
                  <a:chOff x="4951413" y="-951111"/>
                  <a:chExt cx="2281237" cy="5776913"/>
                </a:xfrm>
              </p:grpSpPr>
              <p:sp>
                <p:nvSpPr>
                  <p:cNvPr id="67"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8"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8" name="Group 57"/>
                <p:cNvGrpSpPr>
                  <a:grpSpLocks noChangeAspect="1"/>
                </p:cNvGrpSpPr>
                <p:nvPr/>
              </p:nvGrpSpPr>
              <p:grpSpPr>
                <a:xfrm>
                  <a:off x="8763325" y="3870251"/>
                  <a:ext cx="250611" cy="929509"/>
                  <a:chOff x="4951413" y="-951111"/>
                  <a:chExt cx="2281237" cy="5776913"/>
                </a:xfrm>
              </p:grpSpPr>
              <p:sp>
                <p:nvSpPr>
                  <p:cNvPr id="65"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6"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9" name="Group 58"/>
                <p:cNvGrpSpPr>
                  <a:grpSpLocks noChangeAspect="1"/>
                </p:cNvGrpSpPr>
                <p:nvPr/>
              </p:nvGrpSpPr>
              <p:grpSpPr>
                <a:xfrm>
                  <a:off x="9078048" y="3870251"/>
                  <a:ext cx="250611" cy="929509"/>
                  <a:chOff x="4951413" y="-951111"/>
                  <a:chExt cx="2281237" cy="5776913"/>
                </a:xfrm>
              </p:grpSpPr>
              <p:sp>
                <p:nvSpPr>
                  <p:cNvPr id="63"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4" name="Freeform 17"/>
                  <p:cNvSpPr>
                    <a:spLocks/>
                  </p:cNvSpPr>
                  <p:nvPr/>
                </p:nvSpPr>
                <p:spPr bwMode="auto">
                  <a:xfrm>
                    <a:off x="4951413" y="120456"/>
                    <a:ext cx="2281237" cy="4705346"/>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60" name="Group 59"/>
                <p:cNvGrpSpPr>
                  <a:grpSpLocks noChangeAspect="1"/>
                </p:cNvGrpSpPr>
                <p:nvPr/>
              </p:nvGrpSpPr>
              <p:grpSpPr>
                <a:xfrm>
                  <a:off x="9392772" y="3870251"/>
                  <a:ext cx="250611" cy="929509"/>
                  <a:chOff x="4951413" y="-951111"/>
                  <a:chExt cx="2281237" cy="5776913"/>
                </a:xfrm>
              </p:grpSpPr>
              <p:sp>
                <p:nvSpPr>
                  <p:cNvPr id="6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grpSp>
        <p:sp>
          <p:nvSpPr>
            <p:cNvPr id="51" name="Rectangle 50"/>
            <p:cNvSpPr/>
            <p:nvPr/>
          </p:nvSpPr>
          <p:spPr>
            <a:xfrm>
              <a:off x="5594348" y="340924"/>
              <a:ext cx="348332" cy="321057"/>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48" name="Group 47"/>
            <p:cNvGrpSpPr/>
            <p:nvPr/>
          </p:nvGrpSpPr>
          <p:grpSpPr>
            <a:xfrm>
              <a:off x="6027763" y="340923"/>
              <a:ext cx="344433" cy="321057"/>
              <a:chOff x="3263328" y="5196425"/>
              <a:chExt cx="975204" cy="909018"/>
            </a:xfrm>
          </p:grpSpPr>
          <p:sp>
            <p:nvSpPr>
              <p:cNvPr id="49" name="Rectangle 48"/>
              <p:cNvSpPr/>
              <p:nvPr/>
            </p:nvSpPr>
            <p:spPr>
              <a:xfrm>
                <a:off x="3263328" y="5196425"/>
                <a:ext cx="975204" cy="909018"/>
              </a:xfrm>
              <a:prstGeom prst="rect">
                <a:avLst/>
              </a:prstGeom>
              <a:solidFill>
                <a:srgbClr val="00A4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50" name="Graphic 49" descr="Handshake"/>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84937" y="5400990"/>
                <a:ext cx="576098" cy="576098"/>
              </a:xfrm>
              <a:prstGeom prst="rect">
                <a:avLst/>
              </a:prstGeom>
            </p:spPr>
          </p:pic>
        </p:grpSp>
      </p:grpSp>
      <p:grpSp>
        <p:nvGrpSpPr>
          <p:cNvPr id="11" name="Group 10">
            <a:extLst>
              <a:ext uri="{FF2B5EF4-FFF2-40B4-BE49-F238E27FC236}">
                <a16:creationId xmlns:a16="http://schemas.microsoft.com/office/drawing/2014/main" id="{1ECE2705-C84F-4504-9186-B9066922521C}"/>
              </a:ext>
            </a:extLst>
          </p:cNvPr>
          <p:cNvGrpSpPr/>
          <p:nvPr/>
        </p:nvGrpSpPr>
        <p:grpSpPr>
          <a:xfrm>
            <a:off x="2252748" y="2161309"/>
            <a:ext cx="2460567" cy="2346274"/>
            <a:chOff x="1608156" y="2246498"/>
            <a:chExt cx="985985" cy="908781"/>
          </a:xfrm>
        </p:grpSpPr>
        <p:sp>
          <p:nvSpPr>
            <p:cNvPr id="75" name="Rectangle 74">
              <a:extLst>
                <a:ext uri="{FF2B5EF4-FFF2-40B4-BE49-F238E27FC236}">
                  <a16:creationId xmlns:a16="http://schemas.microsoft.com/office/drawing/2014/main" id="{30726E91-A62F-4894-B26A-1D36D8718B45}"/>
                </a:ext>
              </a:extLst>
            </p:cNvPr>
            <p:cNvSpPr/>
            <p:nvPr/>
          </p:nvSpPr>
          <p:spPr>
            <a:xfrm>
              <a:off x="1608156" y="2246498"/>
              <a:ext cx="985985" cy="9087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7172" name="Picture 4" descr="Resultado de imagem para azure icon">
              <a:extLst>
                <a:ext uri="{FF2B5EF4-FFF2-40B4-BE49-F238E27FC236}">
                  <a16:creationId xmlns:a16="http://schemas.microsoft.com/office/drawing/2014/main" id="{BFE80674-8AB5-4E3E-B330-3C8DFA1F6B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930" y="2311437"/>
              <a:ext cx="830436" cy="8304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a:extLst>
              <a:ext uri="{FF2B5EF4-FFF2-40B4-BE49-F238E27FC236}">
                <a16:creationId xmlns:a16="http://schemas.microsoft.com/office/drawing/2014/main" id="{99DD076C-C715-4ED4-8F0E-0098AF5286D4}"/>
              </a:ext>
            </a:extLst>
          </p:cNvPr>
          <p:cNvGrpSpPr/>
          <p:nvPr/>
        </p:nvGrpSpPr>
        <p:grpSpPr>
          <a:xfrm>
            <a:off x="10714578" y="291393"/>
            <a:ext cx="335510" cy="320973"/>
            <a:chOff x="1608156" y="2246498"/>
            <a:chExt cx="985985" cy="908781"/>
          </a:xfrm>
        </p:grpSpPr>
        <p:sp>
          <p:nvSpPr>
            <p:cNvPr id="77" name="Rectangle 76">
              <a:extLst>
                <a:ext uri="{FF2B5EF4-FFF2-40B4-BE49-F238E27FC236}">
                  <a16:creationId xmlns:a16="http://schemas.microsoft.com/office/drawing/2014/main" id="{1E3B78FF-2AE5-40C1-8D2C-479C515C582B}"/>
                </a:ext>
              </a:extLst>
            </p:cNvPr>
            <p:cNvSpPr/>
            <p:nvPr/>
          </p:nvSpPr>
          <p:spPr>
            <a:xfrm>
              <a:off x="1608156" y="2246498"/>
              <a:ext cx="985985" cy="9087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78" name="Picture 4" descr="Resultado de imagem para azure icon">
              <a:extLst>
                <a:ext uri="{FF2B5EF4-FFF2-40B4-BE49-F238E27FC236}">
                  <a16:creationId xmlns:a16="http://schemas.microsoft.com/office/drawing/2014/main" id="{0B0F73F2-4CEC-4F8E-9CED-4A53A0AAF3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930" y="2311437"/>
              <a:ext cx="830436" cy="830436"/>
            </a:xfrm>
            <a:prstGeom prst="rect">
              <a:avLst/>
            </a:prstGeom>
            <a:noFill/>
            <a:extLst>
              <a:ext uri="{909E8E84-426E-40DD-AFC4-6F175D3DCCD1}">
                <a14:hiddenFill xmlns:a14="http://schemas.microsoft.com/office/drawing/2010/main">
                  <a:solidFill>
                    <a:srgbClr val="FFFFFF"/>
                  </a:solidFill>
                </a14:hiddenFill>
              </a:ext>
            </a:extLst>
          </p:spPr>
        </p:pic>
      </p:grpSp>
      <p:pic>
        <p:nvPicPr>
          <p:cNvPr id="7176" name="Picture 8" descr="Resultado de imagem para power bi logo">
            <a:extLst>
              <a:ext uri="{FF2B5EF4-FFF2-40B4-BE49-F238E27FC236}">
                <a16:creationId xmlns:a16="http://schemas.microsoft.com/office/drawing/2014/main" id="{04AB4255-429E-42E8-9014-E002EAF8C8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0628" y="336838"/>
            <a:ext cx="230081" cy="230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4980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 y="0"/>
            <a:ext cx="12192003" cy="6883954"/>
          </a:xfrm>
          <a:prstGeom prst="rect">
            <a:avLst/>
          </a:prstGeom>
        </p:spPr>
      </p:pic>
      <p:sp>
        <p:nvSpPr>
          <p:cNvPr id="14" name="Rectangle 13"/>
          <p:cNvSpPr/>
          <p:nvPr/>
        </p:nvSpPr>
        <p:spPr bwMode="auto">
          <a:xfrm>
            <a:off x="-1" y="0"/>
            <a:ext cx="12192001" cy="6883954"/>
          </a:xfrm>
          <a:prstGeom prst="rect">
            <a:avLst/>
          </a:prstGeom>
          <a:solidFill>
            <a:srgbClr val="0084E5">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1"/>
          <p:cNvSpPr txBox="1">
            <a:spLocks/>
          </p:cNvSpPr>
          <p:nvPr/>
        </p:nvSpPr>
        <p:spPr>
          <a:xfrm>
            <a:off x="682365" y="1655545"/>
            <a:ext cx="3863131" cy="2229194"/>
          </a:xfrm>
          <a:prstGeom prst="rect">
            <a:avLst/>
          </a:prstGeom>
          <a:noFill/>
          <a:ln w="25400" cap="sq">
            <a:noFill/>
            <a:miter lim="800000"/>
          </a:ln>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ts val="5900"/>
              </a:lnSpc>
              <a:spcBef>
                <a:spcPct val="0"/>
              </a:spcBef>
              <a:spcAft>
                <a:spcPts val="0"/>
              </a:spcAft>
              <a:buClrTx/>
              <a:buSzTx/>
              <a:buFontTx/>
              <a:buNone/>
              <a:tabLst/>
              <a:defRPr/>
            </a:pPr>
            <a:r>
              <a:rPr kumimoji="0" lang="en-US" sz="6000" b="0" i="0" u="none" strike="noStrike" kern="1200" cap="none" spc="0" normalizeH="0" baseline="0" noProof="0" dirty="0">
                <a:ln w="3175">
                  <a:noFill/>
                </a:ln>
                <a:solidFill>
                  <a:srgbClr val="FFFFFF"/>
                </a:solidFill>
                <a:effectLst/>
                <a:uLnTx/>
                <a:uFillTx/>
                <a:latin typeface="Segoe UI Light"/>
                <a:ea typeface="+mn-ea"/>
                <a:cs typeface="Segoe UI" pitchFamily="34" charset="0"/>
              </a:rPr>
              <a:t>O que é a </a:t>
            </a:r>
            <a:r>
              <a:rPr kumimoji="0" lang="en-US" sz="6000" b="0" i="0" u="none" strike="noStrike" kern="1200" cap="none" spc="0" normalizeH="0" baseline="0" noProof="0" dirty="0" err="1">
                <a:ln w="3175">
                  <a:noFill/>
                </a:ln>
                <a:solidFill>
                  <a:srgbClr val="FFFFFF"/>
                </a:solidFill>
                <a:effectLst/>
                <a:uLnTx/>
                <a:uFillTx/>
                <a:latin typeface="Segoe UI Light"/>
                <a:ea typeface="+mn-ea"/>
                <a:cs typeface="Segoe UI" pitchFamily="34" charset="0"/>
              </a:rPr>
              <a:t>nuvem</a:t>
            </a:r>
            <a:r>
              <a:rPr kumimoji="0" lang="en-US" sz="6000" b="0" i="0" u="none" strike="noStrike" kern="1200" cap="none" spc="0" normalizeH="0" baseline="0" noProof="0" dirty="0">
                <a:ln w="3175">
                  <a:noFill/>
                </a:ln>
                <a:solidFill>
                  <a:srgbClr val="FFFFFF"/>
                </a:solidFill>
                <a:effectLst/>
                <a:uLnTx/>
                <a:uFillTx/>
                <a:latin typeface="Segoe UI Light"/>
                <a:ea typeface="+mn-ea"/>
                <a:cs typeface="Segoe UI" pitchFamily="34" charset="0"/>
              </a:rPr>
              <a:t>?</a:t>
            </a:r>
          </a:p>
        </p:txBody>
      </p:sp>
      <p:sp>
        <p:nvSpPr>
          <p:cNvPr id="8" name="Content Placeholder 2"/>
          <p:cNvSpPr txBox="1">
            <a:spLocks/>
          </p:cNvSpPr>
          <p:nvPr/>
        </p:nvSpPr>
        <p:spPr>
          <a:xfrm>
            <a:off x="682365" y="3685956"/>
            <a:ext cx="5002818" cy="1794166"/>
          </a:xfrm>
          <a:prstGeom prst="rect">
            <a:avLst/>
          </a:prstGeom>
        </p:spPr>
        <p:txBody>
          <a:bodyPr vert="horz" wrap="square" lIns="146304" tIns="91440" rIns="146304" bIns="91440" rtlCol="0" anchor="t">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t>
            </a:r>
            <a:r>
              <a:rPr kumimoji="0" lang="en-US" sz="2400" b="0" i="0" u="none" strike="noStrike" kern="1200" cap="none" spc="0" normalizeH="0" baseline="0" noProof="0" dirty="0" err="1">
                <a:ln>
                  <a:noFill/>
                </a:ln>
                <a:solidFill>
                  <a:srgbClr val="FFFFFF"/>
                </a:solidFill>
                <a:effectLst/>
                <a:uLnTx/>
                <a:uFillTx/>
                <a:latin typeface="Segoe UI"/>
                <a:ea typeface="+mn-ea"/>
                <a:cs typeface="+mn-cs"/>
              </a:rPr>
              <a:t>kloud</a:t>
            </a:r>
            <a:r>
              <a:rPr kumimoji="0" lang="en-US" sz="2400" b="0" i="0" u="none" strike="noStrike" kern="1200" cap="none" spc="0" normalizeH="0" baseline="0" noProof="0" dirty="0">
                <a:ln>
                  <a:noFill/>
                </a:ln>
                <a:solidFill>
                  <a:srgbClr val="FFFFFF"/>
                </a:solidFill>
                <a:effectLst/>
                <a:uLnTx/>
                <a:uFillTx/>
                <a:latin typeface="Segoe UI"/>
                <a:ea typeface="+mn-ea"/>
                <a:cs typeface="+mn-cs"/>
              </a:rPr>
              <a:t>\ </a:t>
            </a:r>
            <a:r>
              <a:rPr kumimoji="0" lang="en-US" sz="2400" b="0" i="1" u="none" strike="noStrike" kern="1200" cap="none" spc="0" normalizeH="0" baseline="0" noProof="0" dirty="0">
                <a:ln>
                  <a:noFill/>
                </a:ln>
                <a:solidFill>
                  <a:srgbClr val="FFFFFF"/>
                </a:solidFill>
                <a:effectLst/>
                <a:uLnTx/>
                <a:uFillTx/>
                <a:latin typeface="Segoe UI"/>
                <a:ea typeface="+mn-ea"/>
                <a:cs typeface="+mn-cs"/>
              </a:rPr>
              <a:t>noun</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a </a:t>
            </a:r>
            <a:r>
              <a:rPr kumimoji="0" lang="en-US" sz="2400" b="1" i="0" u="none" strike="noStrike" kern="1200" cap="none" spc="0" normalizeH="0" baseline="0" noProof="0" dirty="0" err="1">
                <a:ln>
                  <a:noFill/>
                </a:ln>
                <a:solidFill>
                  <a:srgbClr val="FFFFFF"/>
                </a:solidFill>
                <a:effectLst/>
                <a:uLnTx/>
                <a:uFillTx/>
                <a:latin typeface="Segoe UI"/>
                <a:ea typeface="+mn-ea"/>
                <a:cs typeface="+mn-cs"/>
              </a:rPr>
              <a:t>prática</a:t>
            </a:r>
            <a:r>
              <a:rPr kumimoji="0" lang="en-US" sz="2400" b="1" i="0" u="none" strike="noStrike" kern="1200" cap="none" spc="0" normalizeH="0" baseline="0" noProof="0" dirty="0">
                <a:ln>
                  <a:noFill/>
                </a:ln>
                <a:solidFill>
                  <a:srgbClr val="FFFFFF"/>
                </a:solidFill>
                <a:effectLst/>
                <a:uLnTx/>
                <a:uFillTx/>
                <a:latin typeface="Segoe UI"/>
                <a:ea typeface="+mn-ea"/>
                <a:cs typeface="+mn-cs"/>
              </a:rPr>
              <a:t> de</a:t>
            </a:r>
            <a:r>
              <a:rPr kumimoji="0" lang="en-US" sz="2400" b="1" i="0" u="none" strike="noStrike" kern="1200" cap="none" spc="0" normalizeH="0" noProof="0" dirty="0">
                <a:ln>
                  <a:noFill/>
                </a:ln>
                <a:solidFill>
                  <a:srgbClr val="FFFFFF"/>
                </a:solidFill>
                <a:effectLst/>
                <a:uLnTx/>
                <a:uFillTx/>
                <a:latin typeface="Segoe UI"/>
                <a:ea typeface="+mn-ea"/>
                <a:cs typeface="+mn-cs"/>
              </a:rPr>
              <a:t> “</a:t>
            </a:r>
            <a:r>
              <a:rPr kumimoji="0" lang="en-US" sz="2400" b="1" i="0" u="none" strike="noStrike" kern="1200" cap="none" spc="0" normalizeH="0" noProof="0" dirty="0" err="1">
                <a:ln>
                  <a:noFill/>
                </a:ln>
                <a:solidFill>
                  <a:srgbClr val="FFFFFF"/>
                </a:solidFill>
                <a:effectLst/>
                <a:uLnTx/>
                <a:uFillTx/>
                <a:latin typeface="Segoe UI"/>
                <a:ea typeface="+mn-ea"/>
                <a:cs typeface="+mn-cs"/>
              </a:rPr>
              <a:t>guardar</a:t>
            </a:r>
            <a:r>
              <a:rPr kumimoji="0" lang="en-US" sz="2400" b="1" i="0" u="none" strike="noStrike" kern="1200" cap="none" spc="0" normalizeH="0" noProof="0" dirty="0">
                <a:ln>
                  <a:noFill/>
                </a:ln>
                <a:solidFill>
                  <a:srgbClr val="FFFFFF"/>
                </a:solidFill>
                <a:effectLst/>
                <a:uLnTx/>
                <a:uFillTx/>
                <a:latin typeface="Segoe UI"/>
                <a:ea typeface="+mn-ea"/>
                <a:cs typeface="+mn-cs"/>
              </a:rPr>
              <a:t>” dados e </a:t>
            </a:r>
            <a:r>
              <a:rPr kumimoji="0" lang="en-US" sz="2400" b="1" i="0" u="none" strike="noStrike" kern="1200" cap="none" spc="0" normalizeH="0" noProof="0" dirty="0" err="1">
                <a:ln>
                  <a:noFill/>
                </a:ln>
                <a:solidFill>
                  <a:srgbClr val="FFFFFF"/>
                </a:solidFill>
                <a:effectLst/>
                <a:uLnTx/>
                <a:uFillTx/>
                <a:latin typeface="Segoe UI"/>
                <a:ea typeface="+mn-ea"/>
                <a:cs typeface="+mn-cs"/>
              </a:rPr>
              <a:t>poder</a:t>
            </a:r>
            <a:r>
              <a:rPr kumimoji="0" lang="en-US" sz="2400" b="1" i="0" u="none" strike="noStrike" kern="1200" cap="none" spc="0" normalizeH="0" noProof="0" dirty="0">
                <a:ln>
                  <a:noFill/>
                </a:ln>
                <a:solidFill>
                  <a:srgbClr val="FFFFFF"/>
                </a:solidFill>
                <a:effectLst/>
                <a:uLnTx/>
                <a:uFillTx/>
                <a:latin typeface="Segoe UI"/>
                <a:ea typeface="+mn-ea"/>
                <a:cs typeface="+mn-cs"/>
              </a:rPr>
              <a:t> </a:t>
            </a:r>
            <a:r>
              <a:rPr kumimoji="0" lang="en-US" sz="2400" b="1" i="0" u="none" strike="noStrike" kern="1200" cap="none" spc="0" normalizeH="0" noProof="0" dirty="0" err="1">
                <a:ln>
                  <a:noFill/>
                </a:ln>
                <a:solidFill>
                  <a:srgbClr val="FFFFFF"/>
                </a:solidFill>
                <a:effectLst/>
                <a:uLnTx/>
                <a:uFillTx/>
                <a:latin typeface="Segoe UI"/>
                <a:ea typeface="+mn-ea"/>
                <a:cs typeface="+mn-cs"/>
              </a:rPr>
              <a:t>computacional</a:t>
            </a:r>
            <a:r>
              <a:rPr kumimoji="0" lang="en-US" sz="2400" b="1" i="0" u="none" strike="noStrike" kern="1200" cap="none" spc="0" normalizeH="0" noProof="0" dirty="0">
                <a:ln>
                  <a:noFill/>
                </a:ln>
                <a:solidFill>
                  <a:srgbClr val="FFFFFF"/>
                </a:solidFill>
                <a:effectLst/>
                <a:uLnTx/>
                <a:uFillTx/>
                <a:latin typeface="Segoe UI"/>
                <a:ea typeface="+mn-ea"/>
                <a:cs typeface="+mn-cs"/>
              </a:rPr>
              <a:t> </a:t>
            </a:r>
            <a:r>
              <a:rPr kumimoji="0" lang="en-US" sz="2400" b="1" i="0" u="none" strike="noStrike" kern="1200" cap="none" spc="0" normalizeH="0" noProof="0" dirty="0" err="1">
                <a:ln>
                  <a:noFill/>
                </a:ln>
                <a:solidFill>
                  <a:srgbClr val="FFFFFF"/>
                </a:solidFill>
                <a:effectLst/>
                <a:uLnTx/>
                <a:uFillTx/>
                <a:latin typeface="Segoe UI"/>
                <a:ea typeface="+mn-ea"/>
                <a:cs typeface="+mn-cs"/>
              </a:rPr>
              <a:t>em</a:t>
            </a:r>
            <a:r>
              <a:rPr kumimoji="0" lang="en-US" sz="2400" b="1" i="0" u="none" strike="noStrike" kern="1200" cap="none" spc="0" normalizeH="0" noProof="0" dirty="0">
                <a:ln>
                  <a:noFill/>
                </a:ln>
                <a:solidFill>
                  <a:srgbClr val="FFFFFF"/>
                </a:solidFill>
                <a:effectLst/>
                <a:uLnTx/>
                <a:uFillTx/>
                <a:latin typeface="Segoe UI"/>
                <a:ea typeface="+mn-ea"/>
                <a:cs typeface="+mn-cs"/>
              </a:rPr>
              <a:t> </a:t>
            </a:r>
            <a:r>
              <a:rPr kumimoji="0" lang="en-US" sz="2400" b="1" i="0" u="none" strike="noStrike" kern="1200" cap="none" spc="0" normalizeH="0" noProof="0" dirty="0" err="1">
                <a:ln>
                  <a:noFill/>
                </a:ln>
                <a:solidFill>
                  <a:srgbClr val="FFFFFF"/>
                </a:solidFill>
                <a:effectLst/>
                <a:uLnTx/>
                <a:uFillTx/>
                <a:latin typeface="Segoe UI"/>
                <a:ea typeface="+mn-ea"/>
                <a:cs typeface="+mn-cs"/>
              </a:rPr>
              <a:t>servidores</a:t>
            </a:r>
            <a:r>
              <a:rPr kumimoji="0" lang="en-US" sz="2400" b="1" i="0" u="none" strike="noStrike" kern="1200" cap="none" spc="0" normalizeH="0" noProof="0" dirty="0">
                <a:ln>
                  <a:noFill/>
                </a:ln>
                <a:solidFill>
                  <a:srgbClr val="FFFFFF"/>
                </a:solidFill>
                <a:effectLst/>
                <a:uLnTx/>
                <a:uFillTx/>
                <a:latin typeface="Segoe UI"/>
                <a:ea typeface="+mn-ea"/>
                <a:cs typeface="+mn-cs"/>
              </a:rPr>
              <a:t> que </a:t>
            </a:r>
            <a:r>
              <a:rPr kumimoji="0" lang="en-US" sz="2400" b="1" i="0" u="none" strike="noStrike" kern="1200" cap="none" spc="0" normalizeH="0" noProof="0" dirty="0" err="1">
                <a:ln>
                  <a:noFill/>
                </a:ln>
                <a:solidFill>
                  <a:srgbClr val="FFFFFF"/>
                </a:solidFill>
                <a:effectLst/>
                <a:uLnTx/>
                <a:uFillTx/>
                <a:latin typeface="Segoe UI"/>
                <a:ea typeface="+mn-ea"/>
                <a:cs typeface="+mn-cs"/>
              </a:rPr>
              <a:t>podem</a:t>
            </a:r>
            <a:r>
              <a:rPr kumimoji="0" lang="en-US" sz="2400" b="1" i="0" u="none" strike="noStrike" kern="1200" cap="none" spc="0" normalizeH="0" noProof="0" dirty="0">
                <a:ln>
                  <a:noFill/>
                </a:ln>
                <a:solidFill>
                  <a:srgbClr val="FFFFFF"/>
                </a:solidFill>
                <a:effectLst/>
                <a:uLnTx/>
                <a:uFillTx/>
                <a:latin typeface="Segoe UI"/>
                <a:ea typeface="+mn-ea"/>
                <a:cs typeface="+mn-cs"/>
              </a:rPr>
              <a:t> ser </a:t>
            </a:r>
            <a:r>
              <a:rPr kumimoji="0" lang="en-US" sz="2400" b="1" i="0" u="none" strike="noStrike" kern="1200" cap="none" spc="0" normalizeH="0" noProof="0" dirty="0" err="1">
                <a:ln>
                  <a:noFill/>
                </a:ln>
                <a:solidFill>
                  <a:srgbClr val="FFFFFF"/>
                </a:solidFill>
                <a:effectLst/>
                <a:uLnTx/>
                <a:uFillTx/>
                <a:latin typeface="Segoe UI"/>
                <a:ea typeface="+mn-ea"/>
                <a:cs typeface="+mn-cs"/>
              </a:rPr>
              <a:t>acessados</a:t>
            </a:r>
            <a:r>
              <a:rPr kumimoji="0" lang="en-US" sz="2400" b="1" i="0" u="none" strike="noStrike" kern="1200" cap="none" spc="0" normalizeH="0" noProof="0" dirty="0">
                <a:ln>
                  <a:noFill/>
                </a:ln>
                <a:solidFill>
                  <a:srgbClr val="FFFFFF"/>
                </a:solidFill>
                <a:effectLst/>
                <a:uLnTx/>
                <a:uFillTx/>
                <a:latin typeface="Segoe UI"/>
                <a:ea typeface="+mn-ea"/>
                <a:cs typeface="+mn-cs"/>
              </a:rPr>
              <a:t> pela internet</a:t>
            </a: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itle 1"/>
          <p:cNvSpPr txBox="1">
            <a:spLocks/>
          </p:cNvSpPr>
          <p:nvPr/>
        </p:nvSpPr>
        <p:spPr>
          <a:xfrm>
            <a:off x="6798471" y="1655544"/>
            <a:ext cx="5795547" cy="2050181"/>
          </a:xfrm>
          <a:prstGeom prst="rect">
            <a:avLst/>
          </a:prstGeom>
          <a:noFill/>
          <a:ln w="25400" cap="sq">
            <a:noFill/>
            <a:miter lim="800000"/>
          </a:ln>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ts val="5900"/>
              </a:lnSpc>
              <a:spcBef>
                <a:spcPct val="0"/>
              </a:spcBef>
              <a:spcAft>
                <a:spcPts val="0"/>
              </a:spcAft>
              <a:buClrTx/>
              <a:buSzTx/>
              <a:buFontTx/>
              <a:buNone/>
              <a:tabLst/>
              <a:defRPr/>
            </a:pPr>
            <a:r>
              <a:rPr kumimoji="0" lang="en-US" sz="6000" b="0" i="0" u="none" strike="noStrike" kern="1200" cap="none" spc="0" normalizeH="0" baseline="0" noProof="0" dirty="0">
                <a:ln w="3175">
                  <a:noFill/>
                </a:ln>
                <a:solidFill>
                  <a:srgbClr val="FFFFFF"/>
                </a:solidFill>
                <a:effectLst/>
                <a:uLnTx/>
                <a:uFillTx/>
                <a:latin typeface="Segoe UI Light"/>
                <a:ea typeface="+mn-ea"/>
                <a:cs typeface="Segoe UI" pitchFamily="34" charset="0"/>
              </a:rPr>
              <a:t>O que é a </a:t>
            </a:r>
            <a:r>
              <a:rPr kumimoji="0" lang="en-US" sz="6000" b="0" i="0" u="none" strike="noStrike" kern="1200" cap="none" spc="0" normalizeH="0" baseline="0" noProof="0" dirty="0" err="1">
                <a:ln w="3175">
                  <a:noFill/>
                </a:ln>
                <a:solidFill>
                  <a:srgbClr val="FFFFFF"/>
                </a:solidFill>
                <a:effectLst/>
                <a:uLnTx/>
                <a:uFillTx/>
                <a:latin typeface="Segoe UI Light"/>
                <a:ea typeface="+mn-ea"/>
                <a:cs typeface="Segoe UI" pitchFamily="34" charset="0"/>
              </a:rPr>
              <a:t>nuvem</a:t>
            </a:r>
            <a:r>
              <a:rPr kumimoji="0" lang="en-US" sz="6000" b="0" i="0" u="none" strike="noStrike" kern="1200" cap="none" spc="0" normalizeH="0" baseline="0" noProof="0" dirty="0">
                <a:ln w="3175">
                  <a:noFill/>
                </a:ln>
                <a:solidFill>
                  <a:srgbClr val="FFFFFF"/>
                </a:solidFill>
                <a:effectLst/>
                <a:uLnTx/>
                <a:uFillTx/>
                <a:latin typeface="Segoe UI Light"/>
                <a:ea typeface="+mn-ea"/>
                <a:cs typeface="Segoe UI" pitchFamily="34" charset="0"/>
              </a:rPr>
              <a:t>, </a:t>
            </a:r>
            <a:r>
              <a:rPr kumimoji="0" lang="en-US" sz="6000" b="0" i="1" u="none" strike="noStrike" kern="1200" cap="none" spc="0" normalizeH="0" baseline="0" noProof="0" dirty="0">
                <a:ln w="3175">
                  <a:noFill/>
                </a:ln>
                <a:solidFill>
                  <a:srgbClr val="FFFFFF"/>
                </a:solidFill>
                <a:effectLst/>
                <a:uLnTx/>
                <a:uFillTx/>
                <a:latin typeface="Segoe UI Light"/>
                <a:ea typeface="+mn-ea"/>
                <a:cs typeface="Segoe UI" pitchFamily="34" charset="0"/>
              </a:rPr>
              <a:t>de </a:t>
            </a:r>
            <a:r>
              <a:rPr kumimoji="0" lang="en-US" sz="6000" b="0" i="1" u="none" strike="noStrike" kern="1200" cap="none" spc="0" normalizeH="0" baseline="0" noProof="0" dirty="0" err="1">
                <a:ln w="3175">
                  <a:noFill/>
                </a:ln>
                <a:solidFill>
                  <a:srgbClr val="FFFFFF"/>
                </a:solidFill>
                <a:effectLst/>
                <a:uLnTx/>
                <a:uFillTx/>
                <a:latin typeface="Segoe UI Light"/>
                <a:ea typeface="+mn-ea"/>
                <a:cs typeface="Segoe UI" pitchFamily="34" charset="0"/>
              </a:rPr>
              <a:t>vdd</a:t>
            </a:r>
            <a:r>
              <a:rPr kumimoji="0" lang="en-US" sz="6000" b="0" i="0" u="none" strike="noStrike" kern="1200" cap="none" spc="0" normalizeH="0" baseline="0" noProof="0" dirty="0">
                <a:ln w="3175">
                  <a:noFill/>
                </a:ln>
                <a:solidFill>
                  <a:srgbClr val="FFFFFF"/>
                </a:solidFill>
                <a:effectLst/>
                <a:uLnTx/>
                <a:uFillTx/>
                <a:latin typeface="Segoe UI Light"/>
                <a:ea typeface="+mn-ea"/>
                <a:cs typeface="Segoe UI" pitchFamily="34" charset="0"/>
              </a:rPr>
              <a:t>?</a:t>
            </a:r>
          </a:p>
        </p:txBody>
      </p:sp>
      <p:sp>
        <p:nvSpPr>
          <p:cNvPr id="11" name="Content Placeholder 2"/>
          <p:cNvSpPr txBox="1">
            <a:spLocks/>
          </p:cNvSpPr>
          <p:nvPr/>
        </p:nvSpPr>
        <p:spPr>
          <a:xfrm>
            <a:off x="6862851" y="3685956"/>
            <a:ext cx="4369098" cy="1794166"/>
          </a:xfrm>
          <a:prstGeom prst="rect">
            <a:avLst/>
          </a:prstGeom>
        </p:spPr>
        <p:txBody>
          <a:bodyPr vert="horz" wrap="square" lIns="146304" tIns="91440" rIns="146304" bIns="91440" rtlCol="0" anchor="t">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br>
              <a:rPr kumimoji="0" lang="en-US" sz="2600" b="1" i="0" u="none" strike="noStrike" kern="1200" cap="none" spc="0" normalizeH="0" baseline="0" noProof="0" dirty="0">
                <a:ln>
                  <a:noFill/>
                </a:ln>
                <a:solidFill>
                  <a:srgbClr val="FFFFFF"/>
                </a:solidFill>
                <a:effectLst/>
                <a:uLnTx/>
                <a:uFillTx/>
                <a:latin typeface="Segoe UI"/>
                <a:ea typeface="+mn-ea"/>
                <a:cs typeface="+mn-cs"/>
              </a:rPr>
            </a:br>
            <a:r>
              <a:rPr kumimoji="0" lang="en-US" sz="2600" b="1" i="0" u="none" strike="noStrike" kern="1200" cap="none" spc="0" normalizeH="0" baseline="0" noProof="0" dirty="0" err="1">
                <a:ln>
                  <a:noFill/>
                </a:ln>
                <a:solidFill>
                  <a:srgbClr val="FFFFFF"/>
                </a:solidFill>
                <a:effectLst/>
                <a:uLnTx/>
                <a:uFillTx/>
                <a:latin typeface="Segoe UI"/>
                <a:ea typeface="+mn-ea"/>
                <a:cs typeface="+mn-cs"/>
              </a:rPr>
              <a:t>uma</a:t>
            </a:r>
            <a:r>
              <a:rPr kumimoji="0" lang="en-US" sz="2600" b="1" i="0" u="none" strike="noStrike" kern="1200" cap="none" spc="0" normalizeH="0" baseline="0" noProof="0" dirty="0">
                <a:ln>
                  <a:noFill/>
                </a:ln>
                <a:solidFill>
                  <a:srgbClr val="FFFFFF"/>
                </a:solidFill>
                <a:effectLst/>
                <a:uLnTx/>
                <a:uFillTx/>
                <a:latin typeface="Segoe UI"/>
                <a:ea typeface="+mn-ea"/>
                <a:cs typeface="+mn-cs"/>
              </a:rPr>
              <a:t> forma </a:t>
            </a:r>
            <a:r>
              <a:rPr kumimoji="0" lang="en-US" sz="2600" b="1" i="0" u="none" strike="noStrike" kern="1200" cap="none" spc="0" normalizeH="0" baseline="0" noProof="0" dirty="0" err="1">
                <a:ln>
                  <a:noFill/>
                </a:ln>
                <a:solidFill>
                  <a:srgbClr val="FFFFFF"/>
                </a:solidFill>
                <a:effectLst/>
                <a:uLnTx/>
                <a:uFillTx/>
                <a:latin typeface="Segoe UI"/>
                <a:ea typeface="+mn-ea"/>
                <a:cs typeface="+mn-cs"/>
              </a:rPr>
              <a:t>poderosa</a:t>
            </a:r>
            <a:r>
              <a:rPr kumimoji="0" lang="en-US" sz="2600" b="1" i="0" u="none" strike="noStrike" kern="1200" cap="none" spc="0" normalizeH="0" noProof="0" dirty="0">
                <a:ln>
                  <a:noFill/>
                </a:ln>
                <a:solidFill>
                  <a:srgbClr val="FFFFFF"/>
                </a:solidFill>
                <a:effectLst/>
                <a:uLnTx/>
                <a:uFillTx/>
                <a:latin typeface="Segoe UI"/>
                <a:ea typeface="+mn-ea"/>
                <a:cs typeface="+mn-cs"/>
              </a:rPr>
              <a:t> de </a:t>
            </a:r>
            <a:r>
              <a:rPr kumimoji="0" lang="en-US" sz="2600" b="1" i="0" u="none" strike="noStrike" kern="1200" cap="none" spc="0" normalizeH="0" noProof="0" dirty="0" err="1">
                <a:ln>
                  <a:noFill/>
                </a:ln>
                <a:solidFill>
                  <a:srgbClr val="FFFFFF"/>
                </a:solidFill>
                <a:effectLst/>
                <a:uLnTx/>
                <a:uFillTx/>
                <a:latin typeface="Segoe UI"/>
                <a:ea typeface="+mn-ea"/>
                <a:cs typeface="+mn-cs"/>
              </a:rPr>
              <a:t>transformar</a:t>
            </a:r>
            <a:r>
              <a:rPr kumimoji="0" lang="en-US" sz="2600" b="1" i="0" u="none" strike="noStrike" kern="1200" cap="none" spc="0" normalizeH="0" noProof="0" dirty="0">
                <a:ln>
                  <a:noFill/>
                </a:ln>
                <a:solidFill>
                  <a:srgbClr val="FFFFFF"/>
                </a:solidFill>
                <a:effectLst/>
                <a:uLnTx/>
                <a:uFillTx/>
                <a:latin typeface="Segoe UI"/>
                <a:ea typeface="+mn-ea"/>
                <a:cs typeface="+mn-cs"/>
              </a:rPr>
              <a:t> </a:t>
            </a:r>
            <a:r>
              <a:rPr kumimoji="0" lang="en-US" sz="2600" b="1" i="0" u="none" strike="noStrike" kern="1200" cap="none" spc="0" normalizeH="0" noProof="0" dirty="0" err="1">
                <a:ln>
                  <a:noFill/>
                </a:ln>
                <a:solidFill>
                  <a:srgbClr val="FFFFFF"/>
                </a:solidFill>
                <a:effectLst/>
                <a:uLnTx/>
                <a:uFillTx/>
                <a:latin typeface="Segoe UI"/>
                <a:ea typeface="+mn-ea"/>
                <a:cs typeface="+mn-cs"/>
              </a:rPr>
              <a:t>seus</a:t>
            </a:r>
            <a:r>
              <a:rPr kumimoji="0" lang="en-US" sz="2600" b="1" i="0" u="none" strike="noStrike" kern="1200" cap="none" spc="0" normalizeH="0" noProof="0" dirty="0">
                <a:ln>
                  <a:noFill/>
                </a:ln>
                <a:solidFill>
                  <a:srgbClr val="FFFFFF"/>
                </a:solidFill>
                <a:effectLst/>
                <a:uLnTx/>
                <a:uFillTx/>
                <a:latin typeface="Segoe UI"/>
                <a:ea typeface="+mn-ea"/>
                <a:cs typeface="+mn-cs"/>
              </a:rPr>
              <a:t> </a:t>
            </a:r>
            <a:r>
              <a:rPr kumimoji="0" lang="en-US" sz="2600" b="1" i="0" u="none" strike="noStrike" kern="1200" cap="none" spc="0" normalizeH="0" noProof="0" dirty="0" err="1">
                <a:ln>
                  <a:noFill/>
                </a:ln>
                <a:solidFill>
                  <a:srgbClr val="FFFFFF"/>
                </a:solidFill>
                <a:effectLst/>
                <a:uLnTx/>
                <a:uFillTx/>
                <a:latin typeface="Segoe UI"/>
                <a:ea typeface="+mn-ea"/>
                <a:cs typeface="+mn-cs"/>
              </a:rPr>
              <a:t>negócios</a:t>
            </a:r>
            <a:endParaRPr kumimoji="0" lang="en-US" sz="2600" b="1"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9869944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63" presetClass="path" presetSubtype="0" accel="50000" decel="50000" fill="hold" grpId="1" nodeType="withEffect">
                                  <p:stCondLst>
                                    <p:cond delay="0"/>
                                  </p:stCondLst>
                                  <p:childTnLst>
                                    <p:animMotion origin="layout" path="M -0.02044 2.96296E-6 L 2.29167E-6 2.96296E-6 " pathEditMode="relative" rAng="0" ptsTypes="AA">
                                      <p:cBhvr>
                                        <p:cTn id="9" dur="500" fill="hold"/>
                                        <p:tgtEl>
                                          <p:spTgt spid="8"/>
                                        </p:tgtEl>
                                        <p:attrNameLst>
                                          <p:attrName>ppt_x</p:attrName>
                                          <p:attrName>ppt_y</p:attrName>
                                        </p:attrNameLst>
                                      </p:cBhvr>
                                      <p:rCtr x="1016"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0">
                                            <p:txEl>
                                              <p:pRg st="0" end="0"/>
                                            </p:txEl>
                                          </p:spTgt>
                                        </p:tgtEl>
                                        <p:attrNameLst>
                                          <p:attrName>style.visibility</p:attrName>
                                        </p:attrNameLst>
                                      </p:cBhvr>
                                      <p:to>
                                        <p:strVal val="visible"/>
                                      </p:to>
                                    </p:set>
                                    <p:animEffect transition="in" filter="fade">
                                      <p:cBhvr>
                                        <p:cTn id="14" dur="500"/>
                                        <p:tgtEl>
                                          <p:spTgt spid="10">
                                            <p:txEl>
                                              <p:pRg st="0" end="0"/>
                                            </p:txEl>
                                          </p:spTgt>
                                        </p:tgtEl>
                                      </p:cBhvr>
                                    </p:animEffect>
                                  </p:childTnLst>
                                </p:cTn>
                              </p:par>
                              <p:par>
                                <p:cTn id="15" presetID="3" presetClass="emph" presetSubtype="2" fill="hold" grpId="0" nodeType="withEffect">
                                  <p:stCondLst>
                                    <p:cond delay="0"/>
                                  </p:stCondLst>
                                  <p:childTnLst>
                                    <p:animClr clrSpc="rgb" dir="cw">
                                      <p:cBhvr override="childStyle">
                                        <p:cTn id="16" dur="500" fill="hold"/>
                                        <p:tgtEl>
                                          <p:spTgt spid="6"/>
                                        </p:tgtEl>
                                        <p:attrNameLst>
                                          <p:attrName>style.color</p:attrName>
                                        </p:attrNameLst>
                                      </p:cBhvr>
                                      <p:to>
                                        <a:srgbClr val="4DB2FF"/>
                                      </p:to>
                                    </p:animClr>
                                  </p:childTnLst>
                                </p:cTn>
                              </p:par>
                              <p:par>
                                <p:cTn id="17" presetID="3" presetClass="emph" presetSubtype="2" fill="hold" grpId="2" nodeType="withEffect">
                                  <p:stCondLst>
                                    <p:cond delay="0"/>
                                  </p:stCondLst>
                                  <p:childTnLst>
                                    <p:animClr clrSpc="rgb" dir="cw">
                                      <p:cBhvr override="childStyle">
                                        <p:cTn id="18" dur="500" fill="hold"/>
                                        <p:tgtEl>
                                          <p:spTgt spid="8"/>
                                        </p:tgtEl>
                                        <p:attrNameLst>
                                          <p:attrName>style.color</p:attrName>
                                        </p:attrNameLst>
                                      </p:cBhvr>
                                      <p:to>
                                        <a:srgbClr val="4DB2FF"/>
                                      </p:to>
                                    </p:animClr>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childTnLst>
                                </p:cTn>
                              </p:par>
                              <p:par>
                                <p:cTn id="23" presetID="63" presetClass="path" presetSubtype="0" accel="50000" decel="50000" fill="hold" grpId="1" nodeType="withEffect">
                                  <p:stCondLst>
                                    <p:cond delay="0"/>
                                  </p:stCondLst>
                                  <p:childTnLst>
                                    <p:animMotion origin="layout" path="M -0.02591 2.96296E-6 L 2.70833E-6 2.96296E-6 " pathEditMode="relative" rAng="0" ptsTypes="AA">
                                      <p:cBhvr>
                                        <p:cTn id="24" dur="500" fill="hold"/>
                                        <p:tgtEl>
                                          <p:spTgt spid="11"/>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8" grpId="1"/>
      <p:bldP spid="8" grpId="2"/>
      <p:bldP spid="11" grpId="0"/>
      <p:bldP spid="11" grpId="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75000"/>
          </a:schemeClr>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4A4E81E4-F408-4080-AE76-39480466AEBD}"/>
              </a:ext>
            </a:extLst>
          </p:cNvPr>
          <p:cNvGrpSpPr/>
          <p:nvPr/>
        </p:nvGrpSpPr>
        <p:grpSpPr>
          <a:xfrm>
            <a:off x="721033" y="1784591"/>
            <a:ext cx="11316292" cy="3937466"/>
            <a:chOff x="721033" y="1784591"/>
            <a:chExt cx="11316292" cy="3937466"/>
          </a:xfrm>
        </p:grpSpPr>
        <p:grpSp>
          <p:nvGrpSpPr>
            <p:cNvPr id="2" name="Group 1" descr="Tools: Visual Studio, GitHub, PowerApps, Power BI">
              <a:extLst>
                <a:ext uri="{FF2B5EF4-FFF2-40B4-BE49-F238E27FC236}">
                  <a16:creationId xmlns:a16="http://schemas.microsoft.com/office/drawing/2014/main" id="{66514EC2-A508-418A-B02B-BD55C01C6F6E}"/>
                </a:ext>
              </a:extLst>
            </p:cNvPr>
            <p:cNvGrpSpPr/>
            <p:nvPr/>
          </p:nvGrpSpPr>
          <p:grpSpPr>
            <a:xfrm>
              <a:off x="10369452" y="3562288"/>
              <a:ext cx="1667873" cy="1815052"/>
              <a:chOff x="10369452" y="3562288"/>
              <a:chExt cx="1667873" cy="1815052"/>
            </a:xfrm>
          </p:grpSpPr>
          <p:sp>
            <p:nvSpPr>
              <p:cNvPr id="3" name="Rectangle 2" descr="Tools: Visual Studio, GitHub, PowerApps, Power BI">
                <a:extLst>
                  <a:ext uri="{FF2B5EF4-FFF2-40B4-BE49-F238E27FC236}">
                    <a16:creationId xmlns:a16="http://schemas.microsoft.com/office/drawing/2014/main" id="{53974EF3-3CAC-489E-9921-EC061A4C561F}"/>
                  </a:ext>
                </a:extLst>
              </p:cNvPr>
              <p:cNvSpPr/>
              <p:nvPr/>
            </p:nvSpPr>
            <p:spPr bwMode="auto">
              <a:xfrm>
                <a:off x="10369452" y="3562288"/>
                <a:ext cx="1313032"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Tools</a:t>
                </a:r>
              </a:p>
            </p:txBody>
          </p:sp>
          <p:sp>
            <p:nvSpPr>
              <p:cNvPr id="4" name="Rectangle 3">
                <a:extLst>
                  <a:ext uri="{FF2B5EF4-FFF2-40B4-BE49-F238E27FC236}">
                    <a16:creationId xmlns:a16="http://schemas.microsoft.com/office/drawing/2014/main" id="{2F1D52D1-5245-4E2D-97A6-238E55918C10}"/>
                  </a:ext>
                </a:extLst>
              </p:cNvPr>
              <p:cNvSpPr/>
              <p:nvPr/>
            </p:nvSpPr>
            <p:spPr bwMode="auto">
              <a:xfrm>
                <a:off x="10369452" y="3886201"/>
                <a:ext cx="1667873" cy="1491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t" anchorCtr="0" forceAA="0" compatLnSpc="1">
                <a:prstTxWarp prst="textNoShape">
                  <a:avLst/>
                </a:prstTxWarp>
                <a:no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Visual Studio</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GitHub</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PowerApps</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Power BI</a:t>
                </a:r>
              </a:p>
            </p:txBody>
          </p:sp>
        </p:grpSp>
        <p:grpSp>
          <p:nvGrpSpPr>
            <p:cNvPr id="6" name="engineer assistance" descr="engineer, assistance">
              <a:extLst>
                <a:ext uri="{FF2B5EF4-FFF2-40B4-BE49-F238E27FC236}">
                  <a16:creationId xmlns:a16="http://schemas.microsoft.com/office/drawing/2014/main" id="{95B9C5EF-1889-4B03-84C7-094E199F70AC}"/>
                </a:ext>
              </a:extLst>
            </p:cNvPr>
            <p:cNvGrpSpPr/>
            <p:nvPr/>
          </p:nvGrpSpPr>
          <p:grpSpPr>
            <a:xfrm>
              <a:off x="10468397" y="3064694"/>
              <a:ext cx="467100" cy="467096"/>
              <a:chOff x="6337562" y="5744951"/>
              <a:chExt cx="435026" cy="435024"/>
            </a:xfrm>
          </p:grpSpPr>
          <p:sp>
            <p:nvSpPr>
              <p:cNvPr id="73" name="Freeform: Shape 72">
                <a:extLst>
                  <a:ext uri="{FF2B5EF4-FFF2-40B4-BE49-F238E27FC236}">
                    <a16:creationId xmlns:a16="http://schemas.microsoft.com/office/drawing/2014/main" id="{8073B347-607F-45DA-832F-3AC15D0006BA}"/>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3D394EAC-CB74-4C99-A5EF-E9A0ED0E8EDA}"/>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7" name="Straight Connector 6">
              <a:extLst>
                <a:ext uri="{FF2B5EF4-FFF2-40B4-BE49-F238E27FC236}">
                  <a16:creationId xmlns:a16="http://schemas.microsoft.com/office/drawing/2014/main" id="{C1D26BD6-4D66-42E1-B3CC-9F1A9EAFA065}"/>
                </a:ext>
              </a:extLst>
            </p:cNvPr>
            <p:cNvCxnSpPr>
              <a:cxnSpLocks/>
            </p:cNvCxnSpPr>
            <p:nvPr/>
          </p:nvCxnSpPr>
          <p:spPr>
            <a:xfrm>
              <a:off x="1424045" y="2162213"/>
              <a:ext cx="8260283" cy="0"/>
            </a:xfrm>
            <a:prstGeom prst="line">
              <a:avLst/>
            </a:prstGeom>
            <a:solidFill>
              <a:schemeClr val="bg1"/>
            </a:solidFill>
            <a:ln w="22225">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8" name="Rectangle 7">
              <a:extLst>
                <a:ext uri="{FF2B5EF4-FFF2-40B4-BE49-F238E27FC236}">
                  <a16:creationId xmlns:a16="http://schemas.microsoft.com/office/drawing/2014/main" id="{82177E43-988F-4F8B-8A29-972681CE7BF6}"/>
                </a:ext>
              </a:extLst>
            </p:cNvPr>
            <p:cNvSpPr/>
            <p:nvPr/>
          </p:nvSpPr>
          <p:spPr bwMode="auto">
            <a:xfrm>
              <a:off x="1508376" y="2208568"/>
              <a:ext cx="1014395"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zure Stack</a:t>
              </a:r>
            </a:p>
          </p:txBody>
        </p:sp>
        <p:sp>
          <p:nvSpPr>
            <p:cNvPr id="9" name="Rectangle 8">
              <a:extLst>
                <a:ext uri="{FF2B5EF4-FFF2-40B4-BE49-F238E27FC236}">
                  <a16:creationId xmlns:a16="http://schemas.microsoft.com/office/drawing/2014/main" id="{28D2232A-38B2-430A-9100-50E33D08B75E}"/>
                </a:ext>
              </a:extLst>
            </p:cNvPr>
            <p:cNvSpPr/>
            <p:nvPr/>
          </p:nvSpPr>
          <p:spPr bwMode="auto">
            <a:xfrm>
              <a:off x="2990040" y="2208568"/>
              <a:ext cx="1395140"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zure Data Box</a:t>
              </a:r>
            </a:p>
          </p:txBody>
        </p:sp>
        <p:sp>
          <p:nvSpPr>
            <p:cNvPr id="10" name="Rectangle 9">
              <a:extLst>
                <a:ext uri="{FF2B5EF4-FFF2-40B4-BE49-F238E27FC236}">
                  <a16:creationId xmlns:a16="http://schemas.microsoft.com/office/drawing/2014/main" id="{15038AF4-DB09-4ABA-8DE1-9C005308C8B9}"/>
                </a:ext>
              </a:extLst>
            </p:cNvPr>
            <p:cNvSpPr/>
            <p:nvPr/>
          </p:nvSpPr>
          <p:spPr bwMode="auto">
            <a:xfrm>
              <a:off x="4852449" y="2208568"/>
              <a:ext cx="1239456"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zure Sphere</a:t>
              </a:r>
            </a:p>
          </p:txBody>
        </p:sp>
        <p:sp>
          <p:nvSpPr>
            <p:cNvPr id="11" name="Rectangle 10">
              <a:extLst>
                <a:ext uri="{FF2B5EF4-FFF2-40B4-BE49-F238E27FC236}">
                  <a16:creationId xmlns:a16="http://schemas.microsoft.com/office/drawing/2014/main" id="{B7A38689-7833-4EA5-BC2E-1C4B1B465592}"/>
                </a:ext>
              </a:extLst>
            </p:cNvPr>
            <p:cNvSpPr/>
            <p:nvPr/>
          </p:nvSpPr>
          <p:spPr bwMode="auto">
            <a:xfrm>
              <a:off x="1508376" y="1784591"/>
              <a:ext cx="5463525"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Edge Devices</a:t>
              </a:r>
            </a:p>
          </p:txBody>
        </p:sp>
        <p:sp>
          <p:nvSpPr>
            <p:cNvPr id="12" name="Rectangle 11">
              <a:extLst>
                <a:ext uri="{FF2B5EF4-FFF2-40B4-BE49-F238E27FC236}">
                  <a16:creationId xmlns:a16="http://schemas.microsoft.com/office/drawing/2014/main" id="{19D83484-8D50-43E1-A1E4-0EEAA09FE344}"/>
                </a:ext>
              </a:extLst>
            </p:cNvPr>
            <p:cNvSpPr/>
            <p:nvPr/>
          </p:nvSpPr>
          <p:spPr bwMode="auto">
            <a:xfrm>
              <a:off x="8200944" y="2208567"/>
              <a:ext cx="985029"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HoloLens </a:t>
              </a:r>
            </a:p>
          </p:txBody>
        </p:sp>
        <p:sp>
          <p:nvSpPr>
            <p:cNvPr id="13" name="Rectangle 12">
              <a:extLst>
                <a:ext uri="{FF2B5EF4-FFF2-40B4-BE49-F238E27FC236}">
                  <a16:creationId xmlns:a16="http://schemas.microsoft.com/office/drawing/2014/main" id="{A5056D3F-A801-478A-9E70-89F3C4E53AE5}"/>
                </a:ext>
              </a:extLst>
            </p:cNvPr>
            <p:cNvSpPr/>
            <p:nvPr/>
          </p:nvSpPr>
          <p:spPr bwMode="auto">
            <a:xfrm>
              <a:off x="6559174" y="2208567"/>
              <a:ext cx="1174502"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zure Kinect</a:t>
              </a:r>
            </a:p>
          </p:txBody>
        </p:sp>
        <p:cxnSp>
          <p:nvCxnSpPr>
            <p:cNvPr id="14" name="Straight Connector 13">
              <a:extLst>
                <a:ext uri="{FF2B5EF4-FFF2-40B4-BE49-F238E27FC236}">
                  <a16:creationId xmlns:a16="http://schemas.microsoft.com/office/drawing/2014/main" id="{ED5FCF05-89D9-411A-85C0-95AFA3F58017}"/>
                </a:ext>
              </a:extLst>
            </p:cNvPr>
            <p:cNvCxnSpPr>
              <a:cxnSpLocks/>
            </p:cNvCxnSpPr>
            <p:nvPr/>
          </p:nvCxnSpPr>
          <p:spPr>
            <a:xfrm>
              <a:off x="9684328" y="2148753"/>
              <a:ext cx="0" cy="3157537"/>
            </a:xfrm>
            <a:prstGeom prst="line">
              <a:avLst/>
            </a:prstGeom>
            <a:solidFill>
              <a:schemeClr val="bg1"/>
            </a:solidFill>
            <a:ln w="22225">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5" name="Rectangle 14">
              <a:extLst>
                <a:ext uri="{FF2B5EF4-FFF2-40B4-BE49-F238E27FC236}">
                  <a16:creationId xmlns:a16="http://schemas.microsoft.com/office/drawing/2014/main" id="{1FE4D7E8-17F4-4060-85C4-2669F75ABBF0}"/>
                </a:ext>
              </a:extLst>
            </p:cNvPr>
            <p:cNvSpPr/>
            <p:nvPr/>
          </p:nvSpPr>
          <p:spPr bwMode="auto">
            <a:xfrm>
              <a:off x="1517828" y="3267885"/>
              <a:ext cx="4631011" cy="1491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t" anchorCtr="0" forceAA="0" compatLnSpc="1">
              <a:prstTxWarp prst="textNoShape">
                <a:avLst/>
              </a:prstTxWarp>
              <a:no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Web</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Mobile</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Mixed Reality</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Containers</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Events + Integration</a:t>
              </a:r>
            </a:p>
          </p:txBody>
        </p:sp>
        <p:sp>
          <p:nvSpPr>
            <p:cNvPr id="16" name="Rectangle 15">
              <a:extLst>
                <a:ext uri="{FF2B5EF4-FFF2-40B4-BE49-F238E27FC236}">
                  <a16:creationId xmlns:a16="http://schemas.microsoft.com/office/drawing/2014/main" id="{48ABBCB9-20E6-4E18-9285-18E0F096876E}"/>
                </a:ext>
              </a:extLst>
            </p:cNvPr>
            <p:cNvSpPr/>
            <p:nvPr/>
          </p:nvSpPr>
          <p:spPr bwMode="auto">
            <a:xfrm>
              <a:off x="5047990" y="3267885"/>
              <a:ext cx="4631011" cy="1491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t" anchorCtr="0" forceAA="0" compatLnSpc="1">
              <a:prstTxWarp prst="textNoShape">
                <a:avLst/>
              </a:prstTxWarp>
              <a:no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Databases</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nalytics</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I + Machine Learning</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Internet of Things</a:t>
              </a:r>
            </a:p>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Media</a:t>
              </a:r>
            </a:p>
          </p:txBody>
        </p:sp>
        <p:sp>
          <p:nvSpPr>
            <p:cNvPr id="17" name="Rectangle 16">
              <a:extLst>
                <a:ext uri="{FF2B5EF4-FFF2-40B4-BE49-F238E27FC236}">
                  <a16:creationId xmlns:a16="http://schemas.microsoft.com/office/drawing/2014/main" id="{9761307F-6288-4070-B6A4-2FAB490A859A}"/>
                </a:ext>
              </a:extLst>
            </p:cNvPr>
            <p:cNvSpPr/>
            <p:nvPr/>
          </p:nvSpPr>
          <p:spPr bwMode="auto">
            <a:xfrm>
              <a:off x="1508374" y="2830363"/>
              <a:ext cx="4291421"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Serverless</a:t>
              </a:r>
            </a:p>
          </p:txBody>
        </p:sp>
        <p:sp>
          <p:nvSpPr>
            <p:cNvPr id="18" name="Rectangle 17">
              <a:extLst>
                <a:ext uri="{FF2B5EF4-FFF2-40B4-BE49-F238E27FC236}">
                  <a16:creationId xmlns:a16="http://schemas.microsoft.com/office/drawing/2014/main" id="{ECF91049-54F8-461C-B651-93DF61A86C36}"/>
                </a:ext>
              </a:extLst>
            </p:cNvPr>
            <p:cNvSpPr/>
            <p:nvPr/>
          </p:nvSpPr>
          <p:spPr bwMode="auto">
            <a:xfrm>
              <a:off x="1508376" y="4912792"/>
              <a:ext cx="5463525"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Infrastructure</a:t>
              </a:r>
            </a:p>
          </p:txBody>
        </p:sp>
        <p:cxnSp>
          <p:nvCxnSpPr>
            <p:cNvPr id="19" name="Straight Connector 18">
              <a:extLst>
                <a:ext uri="{FF2B5EF4-FFF2-40B4-BE49-F238E27FC236}">
                  <a16:creationId xmlns:a16="http://schemas.microsoft.com/office/drawing/2014/main" id="{F4D9441C-731E-4A7C-831B-ED61267DB9A7}"/>
                </a:ext>
              </a:extLst>
            </p:cNvPr>
            <p:cNvCxnSpPr>
              <a:cxnSpLocks/>
            </p:cNvCxnSpPr>
            <p:nvPr/>
          </p:nvCxnSpPr>
          <p:spPr>
            <a:xfrm>
              <a:off x="1412626" y="3226092"/>
              <a:ext cx="8271702" cy="0"/>
            </a:xfrm>
            <a:prstGeom prst="line">
              <a:avLst/>
            </a:prstGeom>
            <a:solidFill>
              <a:schemeClr val="bg1"/>
            </a:solidFill>
            <a:ln w="22225">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97D3183B-DD54-4660-991D-1780BA19D9BA}"/>
                </a:ext>
              </a:extLst>
            </p:cNvPr>
            <p:cNvCxnSpPr>
              <a:cxnSpLocks/>
            </p:cNvCxnSpPr>
            <p:nvPr/>
          </p:nvCxnSpPr>
          <p:spPr>
            <a:xfrm>
              <a:off x="1412626" y="5290414"/>
              <a:ext cx="8271702" cy="0"/>
            </a:xfrm>
            <a:prstGeom prst="line">
              <a:avLst/>
            </a:prstGeom>
            <a:solidFill>
              <a:schemeClr val="bg1"/>
            </a:solidFill>
            <a:ln w="22225">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1" name="Rectangle 20">
              <a:extLst>
                <a:ext uri="{FF2B5EF4-FFF2-40B4-BE49-F238E27FC236}">
                  <a16:creationId xmlns:a16="http://schemas.microsoft.com/office/drawing/2014/main" id="{BB6F0CB7-3E51-4249-AB91-3FF22BB61AA4}"/>
                </a:ext>
              </a:extLst>
            </p:cNvPr>
            <p:cNvSpPr/>
            <p:nvPr/>
          </p:nvSpPr>
          <p:spPr bwMode="auto">
            <a:xfrm>
              <a:off x="1508376" y="5343542"/>
              <a:ext cx="842207"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Compute</a:t>
              </a:r>
            </a:p>
          </p:txBody>
        </p:sp>
        <p:sp>
          <p:nvSpPr>
            <p:cNvPr id="22" name="Rectangle 21">
              <a:extLst>
                <a:ext uri="{FF2B5EF4-FFF2-40B4-BE49-F238E27FC236}">
                  <a16:creationId xmlns:a16="http://schemas.microsoft.com/office/drawing/2014/main" id="{A9E95040-1C1E-4EEF-A50B-5CC85E588FEA}"/>
                </a:ext>
              </a:extLst>
            </p:cNvPr>
            <p:cNvSpPr/>
            <p:nvPr/>
          </p:nvSpPr>
          <p:spPr bwMode="auto">
            <a:xfrm>
              <a:off x="3187842" y="5343542"/>
              <a:ext cx="1022887"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Networking</a:t>
              </a:r>
            </a:p>
          </p:txBody>
        </p:sp>
        <p:sp>
          <p:nvSpPr>
            <p:cNvPr id="23" name="Rectangle 22">
              <a:extLst>
                <a:ext uri="{FF2B5EF4-FFF2-40B4-BE49-F238E27FC236}">
                  <a16:creationId xmlns:a16="http://schemas.microsoft.com/office/drawing/2014/main" id="{1ACF571D-EACD-4842-9688-749D35E6E9F5}"/>
                </a:ext>
              </a:extLst>
            </p:cNvPr>
            <p:cNvSpPr/>
            <p:nvPr/>
          </p:nvSpPr>
          <p:spPr bwMode="auto">
            <a:xfrm>
              <a:off x="5047990" y="5343542"/>
              <a:ext cx="730756"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Storage</a:t>
              </a:r>
            </a:p>
          </p:txBody>
        </p:sp>
        <p:sp>
          <p:nvSpPr>
            <p:cNvPr id="24" name="Rectangle 23">
              <a:extLst>
                <a:ext uri="{FF2B5EF4-FFF2-40B4-BE49-F238E27FC236}">
                  <a16:creationId xmlns:a16="http://schemas.microsoft.com/office/drawing/2014/main" id="{6184933B-7FFB-4BA3-9F50-81763D6D692D}"/>
                </a:ext>
              </a:extLst>
            </p:cNvPr>
            <p:cNvSpPr/>
            <p:nvPr/>
          </p:nvSpPr>
          <p:spPr bwMode="auto">
            <a:xfrm>
              <a:off x="6616005" y="5343542"/>
              <a:ext cx="747679"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Security</a:t>
              </a:r>
            </a:p>
          </p:txBody>
        </p:sp>
        <p:sp>
          <p:nvSpPr>
            <p:cNvPr id="25" name="Rectangle 24">
              <a:extLst>
                <a:ext uri="{FF2B5EF4-FFF2-40B4-BE49-F238E27FC236}">
                  <a16:creationId xmlns:a16="http://schemas.microsoft.com/office/drawing/2014/main" id="{E5346E3A-0C6A-4C9C-8E30-44845DCB2FA0}"/>
                </a:ext>
              </a:extLst>
            </p:cNvPr>
            <p:cNvSpPr/>
            <p:nvPr/>
          </p:nvSpPr>
          <p:spPr bwMode="auto">
            <a:xfrm>
              <a:off x="8200944" y="5343542"/>
              <a:ext cx="722618" cy="378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algn="l" defTabSz="932198" rtl="0" eaLnBrk="1" fontAlgn="base"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Identity</a:t>
              </a:r>
            </a:p>
          </p:txBody>
        </p:sp>
        <p:grpSp>
          <p:nvGrpSpPr>
            <p:cNvPr id="26" name="Group 4" descr="nodes">
              <a:extLst>
                <a:ext uri="{FF2B5EF4-FFF2-40B4-BE49-F238E27FC236}">
                  <a16:creationId xmlns:a16="http://schemas.microsoft.com/office/drawing/2014/main" id="{7B91DC18-6AA4-4BE2-8460-1D57236B40DB}"/>
                </a:ext>
              </a:extLst>
            </p:cNvPr>
            <p:cNvGrpSpPr>
              <a:grpSpLocks noChangeAspect="1"/>
            </p:cNvGrpSpPr>
            <p:nvPr/>
          </p:nvGrpSpPr>
          <p:grpSpPr bwMode="auto">
            <a:xfrm>
              <a:off x="744670" y="2974482"/>
              <a:ext cx="499031" cy="497461"/>
              <a:chOff x="1016" y="765"/>
              <a:chExt cx="318" cy="317"/>
            </a:xfrm>
          </p:grpSpPr>
          <p:sp>
            <p:nvSpPr>
              <p:cNvPr id="58" name="AutoShape 3">
                <a:extLst>
                  <a:ext uri="{FF2B5EF4-FFF2-40B4-BE49-F238E27FC236}">
                    <a16:creationId xmlns:a16="http://schemas.microsoft.com/office/drawing/2014/main" id="{92106E31-739A-4C08-8986-1D40363730AD}"/>
                  </a:ext>
                </a:extLst>
              </p:cNvPr>
              <p:cNvSpPr>
                <a:spLocks noChangeAspect="1" noChangeArrowheads="1" noTextEdit="1"/>
              </p:cNvSpPr>
              <p:nvPr/>
            </p:nvSpPr>
            <p:spPr bwMode="auto">
              <a:xfrm>
                <a:off x="1018" y="767"/>
                <a:ext cx="316"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5">
                <a:extLst>
                  <a:ext uri="{FF2B5EF4-FFF2-40B4-BE49-F238E27FC236}">
                    <a16:creationId xmlns:a16="http://schemas.microsoft.com/office/drawing/2014/main" id="{F9C63E7C-F319-478F-B331-88178CC9032F}"/>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6">
                <a:extLst>
                  <a:ext uri="{FF2B5EF4-FFF2-40B4-BE49-F238E27FC236}">
                    <a16:creationId xmlns:a16="http://schemas.microsoft.com/office/drawing/2014/main" id="{BD05163C-7CFD-45FF-8AFA-68B66F56AFD2}"/>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7">
                <a:extLst>
                  <a:ext uri="{FF2B5EF4-FFF2-40B4-BE49-F238E27FC236}">
                    <a16:creationId xmlns:a16="http://schemas.microsoft.com/office/drawing/2014/main" id="{7280E663-3873-44F1-BF96-5B2023DEFCB5}"/>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8">
                <a:extLst>
                  <a:ext uri="{FF2B5EF4-FFF2-40B4-BE49-F238E27FC236}">
                    <a16:creationId xmlns:a16="http://schemas.microsoft.com/office/drawing/2014/main" id="{761CF0ED-B019-470F-9F83-435B79EE0DAB}"/>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9">
                <a:extLst>
                  <a:ext uri="{FF2B5EF4-FFF2-40B4-BE49-F238E27FC236}">
                    <a16:creationId xmlns:a16="http://schemas.microsoft.com/office/drawing/2014/main" id="{5FD422DB-E160-4E21-966C-04278DAB2F65}"/>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10">
                <a:extLst>
                  <a:ext uri="{FF2B5EF4-FFF2-40B4-BE49-F238E27FC236}">
                    <a16:creationId xmlns:a16="http://schemas.microsoft.com/office/drawing/2014/main" id="{39CF8C81-9BE5-4EBB-8664-66B963D260AA}"/>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Oval 11">
                <a:extLst>
                  <a:ext uri="{FF2B5EF4-FFF2-40B4-BE49-F238E27FC236}">
                    <a16:creationId xmlns:a16="http://schemas.microsoft.com/office/drawing/2014/main" id="{9DEC30DE-1318-41E9-84D2-E7357C407BF5}"/>
                  </a:ext>
                </a:extLst>
              </p:cNvPr>
              <p:cNvSpPr>
                <a:spLocks noChangeArrowheads="1"/>
              </p:cNvSpPr>
              <p:nvPr/>
            </p:nvSpPr>
            <p:spPr bwMode="auto">
              <a:xfrm>
                <a:off x="1118" y="868"/>
                <a:ext cx="76" cy="7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Oval 12">
                <a:extLst>
                  <a:ext uri="{FF2B5EF4-FFF2-40B4-BE49-F238E27FC236}">
                    <a16:creationId xmlns:a16="http://schemas.microsoft.com/office/drawing/2014/main" id="{C834AB93-66CC-4409-BE32-A9B6CF5A2C34}"/>
                  </a:ext>
                </a:extLst>
              </p:cNvPr>
              <p:cNvSpPr>
                <a:spLocks noChangeArrowheads="1"/>
              </p:cNvSpPr>
              <p:nvPr/>
            </p:nvSpPr>
            <p:spPr bwMode="auto">
              <a:xfrm>
                <a:off x="1110" y="765"/>
                <a:ext cx="19"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Oval 13">
                <a:extLst>
                  <a:ext uri="{FF2B5EF4-FFF2-40B4-BE49-F238E27FC236}">
                    <a16:creationId xmlns:a16="http://schemas.microsoft.com/office/drawing/2014/main" id="{5E5A1BCC-D443-4BCE-B4E6-C746514EFF8A}"/>
                  </a:ext>
                </a:extLst>
              </p:cNvPr>
              <p:cNvSpPr>
                <a:spLocks noChangeArrowheads="1"/>
              </p:cNvSpPr>
              <p:nvPr/>
            </p:nvSpPr>
            <p:spPr bwMode="auto">
              <a:xfrm>
                <a:off x="1035" y="1006"/>
                <a:ext cx="18"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Oval 14">
                <a:extLst>
                  <a:ext uri="{FF2B5EF4-FFF2-40B4-BE49-F238E27FC236}">
                    <a16:creationId xmlns:a16="http://schemas.microsoft.com/office/drawing/2014/main" id="{CF372B9B-6553-494B-8CC2-09743488152A}"/>
                  </a:ext>
                </a:extLst>
              </p:cNvPr>
              <p:cNvSpPr>
                <a:spLocks noChangeArrowheads="1"/>
              </p:cNvSpPr>
              <p:nvPr/>
            </p:nvSpPr>
            <p:spPr bwMode="auto">
              <a:xfrm>
                <a:off x="1297" y="935"/>
                <a:ext cx="19" cy="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15">
                <a:extLst>
                  <a:ext uri="{FF2B5EF4-FFF2-40B4-BE49-F238E27FC236}">
                    <a16:creationId xmlns:a16="http://schemas.microsoft.com/office/drawing/2014/main" id="{96D6C485-692C-4F27-B72D-0AFDA2F6825D}"/>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16">
                <a:extLst>
                  <a:ext uri="{FF2B5EF4-FFF2-40B4-BE49-F238E27FC236}">
                    <a16:creationId xmlns:a16="http://schemas.microsoft.com/office/drawing/2014/main" id="{EA7DB87B-F3D8-4093-AFA4-C1A567E3FB36}"/>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17">
                <a:extLst>
                  <a:ext uri="{FF2B5EF4-FFF2-40B4-BE49-F238E27FC236}">
                    <a16:creationId xmlns:a16="http://schemas.microsoft.com/office/drawing/2014/main" id="{419DFDA0-E6E3-449F-9ACC-C8DE1D9351D3}"/>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Oval 18">
                <a:extLst>
                  <a:ext uri="{FF2B5EF4-FFF2-40B4-BE49-F238E27FC236}">
                    <a16:creationId xmlns:a16="http://schemas.microsoft.com/office/drawing/2014/main" id="{537E0564-9BBF-4AF6-94B3-F0DA8CF4C5AC}"/>
                  </a:ext>
                </a:extLst>
              </p:cNvPr>
              <p:cNvSpPr>
                <a:spLocks noChangeArrowheads="1"/>
              </p:cNvSpPr>
              <p:nvPr/>
            </p:nvSpPr>
            <p:spPr bwMode="auto">
              <a:xfrm>
                <a:off x="1277" y="765"/>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D79A07D2-08BE-4117-A7FA-5B9C725E8748}"/>
                </a:ext>
              </a:extLst>
            </p:cNvPr>
            <p:cNvGrpSpPr/>
            <p:nvPr/>
          </p:nvGrpSpPr>
          <p:grpSpPr>
            <a:xfrm>
              <a:off x="755766" y="5076713"/>
              <a:ext cx="464778" cy="439822"/>
              <a:chOff x="1319636" y="4536767"/>
              <a:chExt cx="376130" cy="355934"/>
            </a:xfrm>
          </p:grpSpPr>
          <p:sp>
            <p:nvSpPr>
              <p:cNvPr id="51" name="Oval 50">
                <a:extLst>
                  <a:ext uri="{FF2B5EF4-FFF2-40B4-BE49-F238E27FC236}">
                    <a16:creationId xmlns:a16="http://schemas.microsoft.com/office/drawing/2014/main" id="{FAE919FC-1710-47C9-B07F-2CE8DC13E1E9}"/>
                  </a:ext>
                </a:extLst>
              </p:cNvPr>
              <p:cNvSpPr/>
              <p:nvPr/>
            </p:nvSpPr>
            <p:spPr bwMode="auto">
              <a:xfrm>
                <a:off x="1384007" y="4536767"/>
                <a:ext cx="239815" cy="23981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Oval 51">
                <a:extLst>
                  <a:ext uri="{FF2B5EF4-FFF2-40B4-BE49-F238E27FC236}">
                    <a16:creationId xmlns:a16="http://schemas.microsoft.com/office/drawing/2014/main" id="{D826C742-A70F-4EFD-BB6C-F68C157E332E}"/>
                  </a:ext>
                </a:extLst>
              </p:cNvPr>
              <p:cNvSpPr/>
              <p:nvPr/>
            </p:nvSpPr>
            <p:spPr bwMode="auto">
              <a:xfrm>
                <a:off x="1319636" y="4652888"/>
                <a:ext cx="239815" cy="23981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BA4EA2C-FC43-4F84-886F-46DDB2CB0887}"/>
                  </a:ext>
                </a:extLst>
              </p:cNvPr>
              <p:cNvSpPr/>
              <p:nvPr/>
            </p:nvSpPr>
            <p:spPr bwMode="auto">
              <a:xfrm>
                <a:off x="1455951" y="4652888"/>
                <a:ext cx="239815" cy="23981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Freeform: Shape 53">
                <a:extLst>
                  <a:ext uri="{FF2B5EF4-FFF2-40B4-BE49-F238E27FC236}">
                    <a16:creationId xmlns:a16="http://schemas.microsoft.com/office/drawing/2014/main" id="{6E3E80B8-54A2-4120-AD00-C9B1AC10E645}"/>
                  </a:ext>
                </a:extLst>
              </p:cNvPr>
              <p:cNvSpPr/>
              <p:nvPr/>
            </p:nvSpPr>
            <p:spPr bwMode="auto">
              <a:xfrm>
                <a:off x="1454720" y="4675156"/>
                <a:ext cx="103760" cy="197511"/>
              </a:xfrm>
              <a:custGeom>
                <a:avLst/>
                <a:gdLst>
                  <a:gd name="connsiteX0" fmla="*/ 138854 w 277707"/>
                  <a:gd name="connsiteY0" fmla="*/ 0 h 528629"/>
                  <a:gd name="connsiteX1" fmla="*/ 183474 w 277707"/>
                  <a:gd name="connsiteY1" fmla="*/ 36815 h 528629"/>
                  <a:gd name="connsiteX2" fmla="*/ 277707 w 277707"/>
                  <a:gd name="connsiteY2" fmla="*/ 264314 h 528629"/>
                  <a:gd name="connsiteX3" fmla="*/ 183474 w 277707"/>
                  <a:gd name="connsiteY3" fmla="*/ 491814 h 528629"/>
                  <a:gd name="connsiteX4" fmla="*/ 138854 w 277707"/>
                  <a:gd name="connsiteY4" fmla="*/ 528629 h 528629"/>
                  <a:gd name="connsiteX5" fmla="*/ 94234 w 277707"/>
                  <a:gd name="connsiteY5" fmla="*/ 491814 h 528629"/>
                  <a:gd name="connsiteX6" fmla="*/ 0 w 277707"/>
                  <a:gd name="connsiteY6" fmla="*/ 264314 h 528629"/>
                  <a:gd name="connsiteX7" fmla="*/ 94234 w 277707"/>
                  <a:gd name="connsiteY7" fmla="*/ 36815 h 52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07" h="528629">
                    <a:moveTo>
                      <a:pt x="138854" y="0"/>
                    </a:moveTo>
                    <a:lnTo>
                      <a:pt x="183474" y="36815"/>
                    </a:lnTo>
                    <a:cubicBezTo>
                      <a:pt x="241696" y="95037"/>
                      <a:pt x="277707" y="175470"/>
                      <a:pt x="277707" y="264314"/>
                    </a:cubicBezTo>
                    <a:cubicBezTo>
                      <a:pt x="277707" y="353158"/>
                      <a:pt x="241696" y="433591"/>
                      <a:pt x="183474" y="491814"/>
                    </a:cubicBezTo>
                    <a:lnTo>
                      <a:pt x="138854" y="528629"/>
                    </a:lnTo>
                    <a:lnTo>
                      <a:pt x="94234" y="491814"/>
                    </a:lnTo>
                    <a:cubicBezTo>
                      <a:pt x="36011" y="433591"/>
                      <a:pt x="0" y="353158"/>
                      <a:pt x="0" y="264314"/>
                    </a:cubicBezTo>
                    <a:cubicBezTo>
                      <a:pt x="0" y="175470"/>
                      <a:pt x="36011" y="95037"/>
                      <a:pt x="94234" y="36815"/>
                    </a:cubicBezTo>
                    <a:close/>
                  </a:path>
                </a:pathLst>
              </a:cu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009ACF75-36D4-45E6-B264-BA134E56BE87}"/>
                  </a:ext>
                </a:extLst>
              </p:cNvPr>
              <p:cNvSpPr/>
              <p:nvPr/>
            </p:nvSpPr>
            <p:spPr bwMode="auto">
              <a:xfrm>
                <a:off x="1457106" y="4653702"/>
                <a:ext cx="167079" cy="124005"/>
              </a:xfrm>
              <a:custGeom>
                <a:avLst/>
                <a:gdLst>
                  <a:gd name="connsiteX0" fmla="*/ 320108 w 447177"/>
                  <a:gd name="connsiteY0" fmla="*/ 0 h 331892"/>
                  <a:gd name="connsiteX1" fmla="*/ 445341 w 447177"/>
                  <a:gd name="connsiteY1" fmla="*/ 25284 h 331892"/>
                  <a:gd name="connsiteX2" fmla="*/ 447177 w 447177"/>
                  <a:gd name="connsiteY2" fmla="*/ 26280 h 331892"/>
                  <a:gd name="connsiteX3" fmla="*/ 442266 w 447177"/>
                  <a:gd name="connsiteY3" fmla="*/ 75000 h 331892"/>
                  <a:gd name="connsiteX4" fmla="*/ 127069 w 447177"/>
                  <a:gd name="connsiteY4" fmla="*/ 331892 h 331892"/>
                  <a:gd name="connsiteX5" fmla="*/ 1836 w 447177"/>
                  <a:gd name="connsiteY5" fmla="*/ 306609 h 331892"/>
                  <a:gd name="connsiteX6" fmla="*/ 0 w 447177"/>
                  <a:gd name="connsiteY6" fmla="*/ 305612 h 331892"/>
                  <a:gd name="connsiteX7" fmla="*/ 4912 w 447177"/>
                  <a:gd name="connsiteY7" fmla="*/ 256893 h 331892"/>
                  <a:gd name="connsiteX8" fmla="*/ 320108 w 447177"/>
                  <a:gd name="connsiteY8" fmla="*/ 0 h 33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77" h="331892">
                    <a:moveTo>
                      <a:pt x="320108" y="0"/>
                    </a:moveTo>
                    <a:cubicBezTo>
                      <a:pt x="364530" y="0"/>
                      <a:pt x="406849" y="9003"/>
                      <a:pt x="445341" y="25284"/>
                    </a:cubicBezTo>
                    <a:lnTo>
                      <a:pt x="447177" y="26280"/>
                    </a:lnTo>
                    <a:lnTo>
                      <a:pt x="442266" y="75000"/>
                    </a:lnTo>
                    <a:cubicBezTo>
                      <a:pt x="412265" y="221608"/>
                      <a:pt x="282546" y="331892"/>
                      <a:pt x="127069" y="331892"/>
                    </a:cubicBezTo>
                    <a:cubicBezTo>
                      <a:pt x="82647" y="331892"/>
                      <a:pt x="40328" y="322889"/>
                      <a:pt x="1836" y="306609"/>
                    </a:cubicBezTo>
                    <a:lnTo>
                      <a:pt x="0" y="305612"/>
                    </a:lnTo>
                    <a:lnTo>
                      <a:pt x="4912" y="256893"/>
                    </a:lnTo>
                    <a:cubicBezTo>
                      <a:pt x="34912" y="110285"/>
                      <a:pt x="164631" y="0"/>
                      <a:pt x="320108" y="0"/>
                    </a:cubicBezTo>
                    <a:close/>
                  </a:path>
                </a:pathLst>
              </a:cu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17E0F5E7-7535-4D09-B371-FE629C2CCE99}"/>
                  </a:ext>
                </a:extLst>
              </p:cNvPr>
              <p:cNvSpPr/>
              <p:nvPr/>
            </p:nvSpPr>
            <p:spPr bwMode="auto">
              <a:xfrm>
                <a:off x="1385374" y="4653702"/>
                <a:ext cx="173883" cy="124005"/>
              </a:xfrm>
              <a:custGeom>
                <a:avLst/>
                <a:gdLst>
                  <a:gd name="connsiteX0" fmla="*/ 146334 w 465388"/>
                  <a:gd name="connsiteY0" fmla="*/ 0 h 331892"/>
                  <a:gd name="connsiteX1" fmla="*/ 461531 w 465388"/>
                  <a:gd name="connsiteY1" fmla="*/ 256893 h 331892"/>
                  <a:gd name="connsiteX2" fmla="*/ 465388 w 465388"/>
                  <a:gd name="connsiteY2" fmla="*/ 295156 h 331892"/>
                  <a:gd name="connsiteX3" fmla="*/ 444287 w 465388"/>
                  <a:gd name="connsiteY3" fmla="*/ 306609 h 331892"/>
                  <a:gd name="connsiteX4" fmla="*/ 319054 w 465388"/>
                  <a:gd name="connsiteY4" fmla="*/ 331892 h 331892"/>
                  <a:gd name="connsiteX5" fmla="*/ 3858 w 465388"/>
                  <a:gd name="connsiteY5" fmla="*/ 75000 h 331892"/>
                  <a:gd name="connsiteX6" fmla="*/ 0 w 465388"/>
                  <a:gd name="connsiteY6" fmla="*/ 36737 h 331892"/>
                  <a:gd name="connsiteX7" fmla="*/ 21101 w 465388"/>
                  <a:gd name="connsiteY7" fmla="*/ 25284 h 331892"/>
                  <a:gd name="connsiteX8" fmla="*/ 146334 w 465388"/>
                  <a:gd name="connsiteY8" fmla="*/ 0 h 33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388" h="331892">
                    <a:moveTo>
                      <a:pt x="146334" y="0"/>
                    </a:moveTo>
                    <a:cubicBezTo>
                      <a:pt x="301811" y="0"/>
                      <a:pt x="431530" y="110285"/>
                      <a:pt x="461531" y="256893"/>
                    </a:cubicBezTo>
                    <a:lnTo>
                      <a:pt x="465388" y="295156"/>
                    </a:lnTo>
                    <a:lnTo>
                      <a:pt x="444287" y="306609"/>
                    </a:lnTo>
                    <a:cubicBezTo>
                      <a:pt x="405795" y="322889"/>
                      <a:pt x="363476" y="331892"/>
                      <a:pt x="319054" y="331892"/>
                    </a:cubicBezTo>
                    <a:cubicBezTo>
                      <a:pt x="163577" y="331892"/>
                      <a:pt x="33858" y="221608"/>
                      <a:pt x="3858" y="75000"/>
                    </a:cubicBezTo>
                    <a:lnTo>
                      <a:pt x="0" y="36737"/>
                    </a:lnTo>
                    <a:lnTo>
                      <a:pt x="21101" y="25284"/>
                    </a:lnTo>
                    <a:cubicBezTo>
                      <a:pt x="59593" y="9003"/>
                      <a:pt x="101912" y="0"/>
                      <a:pt x="146334" y="0"/>
                    </a:cubicBezTo>
                    <a:close/>
                  </a:path>
                </a:pathLst>
              </a:cu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7EF2706C-1BE9-4959-8220-7B0D17DED6E4}"/>
                  </a:ext>
                </a:extLst>
              </p:cNvPr>
              <p:cNvSpPr/>
              <p:nvPr/>
            </p:nvSpPr>
            <p:spPr bwMode="auto">
              <a:xfrm>
                <a:off x="1454820" y="4676486"/>
                <a:ext cx="101939" cy="101221"/>
              </a:xfrm>
              <a:custGeom>
                <a:avLst/>
                <a:gdLst>
                  <a:gd name="connsiteX0" fmla="*/ 51177 w 101939"/>
                  <a:gd name="connsiteY0" fmla="*/ 0 h 101221"/>
                  <a:gd name="connsiteX1" fmla="*/ 59311 w 101939"/>
                  <a:gd name="connsiteY1" fmla="*/ 4666 h 101221"/>
                  <a:gd name="connsiteX2" fmla="*/ 100614 w 101939"/>
                  <a:gd name="connsiteY2" fmla="*/ 73199 h 101221"/>
                  <a:gd name="connsiteX3" fmla="*/ 101939 w 101939"/>
                  <a:gd name="connsiteY3" fmla="*/ 86340 h 101221"/>
                  <a:gd name="connsiteX4" fmla="*/ 91539 w 101939"/>
                  <a:gd name="connsiteY4" fmla="*/ 92306 h 101221"/>
                  <a:gd name="connsiteX5" fmla="*/ 47381 w 101939"/>
                  <a:gd name="connsiteY5" fmla="*/ 101221 h 101221"/>
                  <a:gd name="connsiteX6" fmla="*/ 3223 w 101939"/>
                  <a:gd name="connsiteY6" fmla="*/ 92306 h 101221"/>
                  <a:gd name="connsiteX7" fmla="*/ 0 w 101939"/>
                  <a:gd name="connsiteY7" fmla="*/ 90457 h 101221"/>
                  <a:gd name="connsiteX8" fmla="*/ 1740 w 101939"/>
                  <a:gd name="connsiteY8" fmla="*/ 73199 h 101221"/>
                  <a:gd name="connsiteX9" fmla="*/ 43043 w 101939"/>
                  <a:gd name="connsiteY9" fmla="*/ 4666 h 10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39" h="101221">
                    <a:moveTo>
                      <a:pt x="51177" y="0"/>
                    </a:moveTo>
                    <a:lnTo>
                      <a:pt x="59311" y="4666"/>
                    </a:lnTo>
                    <a:cubicBezTo>
                      <a:pt x="80090" y="21815"/>
                      <a:pt x="95009" y="45811"/>
                      <a:pt x="100614" y="73199"/>
                    </a:cubicBezTo>
                    <a:lnTo>
                      <a:pt x="101939" y="86340"/>
                    </a:lnTo>
                    <a:lnTo>
                      <a:pt x="91539" y="92306"/>
                    </a:lnTo>
                    <a:lnTo>
                      <a:pt x="47381" y="101221"/>
                    </a:lnTo>
                    <a:lnTo>
                      <a:pt x="3223" y="92306"/>
                    </a:lnTo>
                    <a:lnTo>
                      <a:pt x="0" y="90457"/>
                    </a:lnTo>
                    <a:lnTo>
                      <a:pt x="1740" y="73199"/>
                    </a:lnTo>
                    <a:cubicBezTo>
                      <a:pt x="7345" y="45811"/>
                      <a:pt x="22264" y="21815"/>
                      <a:pt x="43043" y="4666"/>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267D44F3-B999-48B8-956C-02371B2FFA63}"/>
                </a:ext>
              </a:extLst>
            </p:cNvPr>
            <p:cNvGrpSpPr/>
            <p:nvPr/>
          </p:nvGrpSpPr>
          <p:grpSpPr>
            <a:xfrm>
              <a:off x="721033" y="1967345"/>
              <a:ext cx="508846" cy="375058"/>
              <a:chOff x="1289855" y="5585222"/>
              <a:chExt cx="426534" cy="314388"/>
            </a:xfrm>
          </p:grpSpPr>
          <p:grpSp>
            <p:nvGrpSpPr>
              <p:cNvPr id="31" name="desktop" descr="desktop">
                <a:extLst>
                  <a:ext uri="{FF2B5EF4-FFF2-40B4-BE49-F238E27FC236}">
                    <a16:creationId xmlns:a16="http://schemas.microsoft.com/office/drawing/2014/main" id="{66F68AE3-B525-40EC-B215-6351EDBD2EEC}"/>
                  </a:ext>
                </a:extLst>
              </p:cNvPr>
              <p:cNvGrpSpPr/>
              <p:nvPr/>
            </p:nvGrpSpPr>
            <p:grpSpPr>
              <a:xfrm>
                <a:off x="1378578" y="5585222"/>
                <a:ext cx="337811" cy="314388"/>
                <a:chOff x="5419125" y="3953316"/>
                <a:chExt cx="391539" cy="364391"/>
              </a:xfrm>
            </p:grpSpPr>
            <p:sp>
              <p:nvSpPr>
                <p:cNvPr id="47" name="Freeform: Shape 46">
                  <a:extLst>
                    <a:ext uri="{FF2B5EF4-FFF2-40B4-BE49-F238E27FC236}">
                      <a16:creationId xmlns:a16="http://schemas.microsoft.com/office/drawing/2014/main" id="{1177EED0-6815-4F8B-814E-BCE63DAFA20D}"/>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chemeClr val="accent1"/>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4A1E3665-2CDD-45A9-B6BF-8ABFD6B91689}"/>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12F61744-F23F-42F8-AB24-2C1F81C6A97B}"/>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9355B747-43D4-4671-9BDF-10421398C65D}"/>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2" name="Group 31" descr="chip">
                <a:extLst>
                  <a:ext uri="{FF2B5EF4-FFF2-40B4-BE49-F238E27FC236}">
                    <a16:creationId xmlns:a16="http://schemas.microsoft.com/office/drawing/2014/main" id="{4290D2FD-7588-4F18-926F-5818FFDE63BE}"/>
                  </a:ext>
                </a:extLst>
              </p:cNvPr>
              <p:cNvGrpSpPr/>
              <p:nvPr/>
            </p:nvGrpSpPr>
            <p:grpSpPr>
              <a:xfrm>
                <a:off x="1289855" y="5691188"/>
                <a:ext cx="196327" cy="197359"/>
                <a:chOff x="3149601" y="2824164"/>
                <a:chExt cx="301626" cy="303212"/>
              </a:xfrm>
            </p:grpSpPr>
            <p:sp>
              <p:nvSpPr>
                <p:cNvPr id="33" name="Freeform 67">
                  <a:extLst>
                    <a:ext uri="{FF2B5EF4-FFF2-40B4-BE49-F238E27FC236}">
                      <a16:creationId xmlns:a16="http://schemas.microsoft.com/office/drawing/2014/main" id="{B357F2D9-0689-4626-9B80-438072D84F8F}"/>
                    </a:ext>
                  </a:extLst>
                </p:cNvPr>
                <p:cNvSpPr>
                  <a:spLocks/>
                </p:cNvSpPr>
                <p:nvPr/>
              </p:nvSpPr>
              <p:spPr bwMode="auto">
                <a:xfrm>
                  <a:off x="3187701" y="2862264"/>
                  <a:ext cx="225425" cy="225425"/>
                </a:xfrm>
                <a:custGeom>
                  <a:avLst/>
                  <a:gdLst>
                    <a:gd name="T0" fmla="*/ 109 w 134"/>
                    <a:gd name="T1" fmla="*/ 0 h 134"/>
                    <a:gd name="T2" fmla="*/ 25 w 134"/>
                    <a:gd name="T3" fmla="*/ 0 h 134"/>
                    <a:gd name="T4" fmla="*/ 0 w 134"/>
                    <a:gd name="T5" fmla="*/ 25 h 134"/>
                    <a:gd name="T6" fmla="*/ 0 w 134"/>
                    <a:gd name="T7" fmla="*/ 109 h 134"/>
                    <a:gd name="T8" fmla="*/ 25 w 134"/>
                    <a:gd name="T9" fmla="*/ 134 h 134"/>
                    <a:gd name="T10" fmla="*/ 109 w 134"/>
                    <a:gd name="T11" fmla="*/ 134 h 134"/>
                    <a:gd name="T12" fmla="*/ 134 w 134"/>
                    <a:gd name="T13" fmla="*/ 109 h 134"/>
                    <a:gd name="T14" fmla="*/ 134 w 134"/>
                    <a:gd name="T15" fmla="*/ 25 h 134"/>
                    <a:gd name="T16" fmla="*/ 109 w 134"/>
                    <a:gd name="T1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34">
                      <a:moveTo>
                        <a:pt x="109" y="0"/>
                      </a:moveTo>
                      <a:cubicBezTo>
                        <a:pt x="25" y="0"/>
                        <a:pt x="25" y="0"/>
                        <a:pt x="25" y="0"/>
                      </a:cubicBezTo>
                      <a:cubicBezTo>
                        <a:pt x="11" y="0"/>
                        <a:pt x="0" y="11"/>
                        <a:pt x="0" y="25"/>
                      </a:cubicBezTo>
                      <a:cubicBezTo>
                        <a:pt x="0" y="109"/>
                        <a:pt x="0" y="109"/>
                        <a:pt x="0" y="109"/>
                      </a:cubicBezTo>
                      <a:cubicBezTo>
                        <a:pt x="0" y="123"/>
                        <a:pt x="11" y="134"/>
                        <a:pt x="25" y="134"/>
                      </a:cubicBezTo>
                      <a:cubicBezTo>
                        <a:pt x="109" y="134"/>
                        <a:pt x="109" y="134"/>
                        <a:pt x="109" y="134"/>
                      </a:cubicBezTo>
                      <a:cubicBezTo>
                        <a:pt x="123" y="134"/>
                        <a:pt x="134" y="123"/>
                        <a:pt x="134" y="109"/>
                      </a:cubicBezTo>
                      <a:cubicBezTo>
                        <a:pt x="134" y="25"/>
                        <a:pt x="134" y="25"/>
                        <a:pt x="134" y="25"/>
                      </a:cubicBezTo>
                      <a:cubicBezTo>
                        <a:pt x="134" y="11"/>
                        <a:pt x="123" y="0"/>
                        <a:pt x="109"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Line 68">
                  <a:extLst>
                    <a:ext uri="{FF2B5EF4-FFF2-40B4-BE49-F238E27FC236}">
                      <a16:creationId xmlns:a16="http://schemas.microsoft.com/office/drawing/2014/main" id="{8BE4F176-F2EA-42FD-8865-324793C16BD3}"/>
                    </a:ext>
                  </a:extLst>
                </p:cNvPr>
                <p:cNvSpPr>
                  <a:spLocks noChangeShapeType="1"/>
                </p:cNvSpPr>
                <p:nvPr/>
              </p:nvSpPr>
              <p:spPr bwMode="auto">
                <a:xfrm>
                  <a:off x="3300414"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 name="Line 69">
                  <a:extLst>
                    <a:ext uri="{FF2B5EF4-FFF2-40B4-BE49-F238E27FC236}">
                      <a16:creationId xmlns:a16="http://schemas.microsoft.com/office/drawing/2014/main" id="{24CB38DB-48E2-42C2-AE9E-9AB886C73D4E}"/>
                    </a:ext>
                  </a:extLst>
                </p:cNvPr>
                <p:cNvSpPr>
                  <a:spLocks noChangeShapeType="1"/>
                </p:cNvSpPr>
                <p:nvPr/>
              </p:nvSpPr>
              <p:spPr bwMode="auto">
                <a:xfrm>
                  <a:off x="3248026"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70">
                  <a:extLst>
                    <a:ext uri="{FF2B5EF4-FFF2-40B4-BE49-F238E27FC236}">
                      <a16:creationId xmlns:a16="http://schemas.microsoft.com/office/drawing/2014/main" id="{BD6C3323-CDB9-4DAD-B94F-5330C9D1D84A}"/>
                    </a:ext>
                  </a:extLst>
                </p:cNvPr>
                <p:cNvSpPr>
                  <a:spLocks noChangeShapeType="1"/>
                </p:cNvSpPr>
                <p:nvPr/>
              </p:nvSpPr>
              <p:spPr bwMode="auto">
                <a:xfrm>
                  <a:off x="3352801"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Line 71">
                  <a:extLst>
                    <a:ext uri="{FF2B5EF4-FFF2-40B4-BE49-F238E27FC236}">
                      <a16:creationId xmlns:a16="http://schemas.microsoft.com/office/drawing/2014/main" id="{5AAEC45D-B87F-4582-95E6-BC974D9F83A3}"/>
                    </a:ext>
                  </a:extLst>
                </p:cNvPr>
                <p:cNvSpPr>
                  <a:spLocks noChangeShapeType="1"/>
                </p:cNvSpPr>
                <p:nvPr/>
              </p:nvSpPr>
              <p:spPr bwMode="auto">
                <a:xfrm>
                  <a:off x="3300414"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Line 72">
                  <a:extLst>
                    <a:ext uri="{FF2B5EF4-FFF2-40B4-BE49-F238E27FC236}">
                      <a16:creationId xmlns:a16="http://schemas.microsoft.com/office/drawing/2014/main" id="{763D7D02-C27A-4D13-9C62-B58558EFDFD6}"/>
                    </a:ext>
                  </a:extLst>
                </p:cNvPr>
                <p:cNvSpPr>
                  <a:spLocks noChangeShapeType="1"/>
                </p:cNvSpPr>
                <p:nvPr/>
              </p:nvSpPr>
              <p:spPr bwMode="auto">
                <a:xfrm>
                  <a:off x="3248026"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Line 73">
                  <a:extLst>
                    <a:ext uri="{FF2B5EF4-FFF2-40B4-BE49-F238E27FC236}">
                      <a16:creationId xmlns:a16="http://schemas.microsoft.com/office/drawing/2014/main" id="{6D916755-157F-499B-BA29-0A6BB55C70C4}"/>
                    </a:ext>
                  </a:extLst>
                </p:cNvPr>
                <p:cNvSpPr>
                  <a:spLocks noChangeShapeType="1"/>
                </p:cNvSpPr>
                <p:nvPr/>
              </p:nvSpPr>
              <p:spPr bwMode="auto">
                <a:xfrm>
                  <a:off x="3352801"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Line 74">
                  <a:extLst>
                    <a:ext uri="{FF2B5EF4-FFF2-40B4-BE49-F238E27FC236}">
                      <a16:creationId xmlns:a16="http://schemas.microsoft.com/office/drawing/2014/main" id="{17C0F283-5DCB-4EE6-8C55-769EBA5D804B}"/>
                    </a:ext>
                  </a:extLst>
                </p:cNvPr>
                <p:cNvSpPr>
                  <a:spLocks noChangeShapeType="1"/>
                </p:cNvSpPr>
                <p:nvPr/>
              </p:nvSpPr>
              <p:spPr bwMode="auto">
                <a:xfrm>
                  <a:off x="3149601" y="2974976"/>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Line 75">
                  <a:extLst>
                    <a:ext uri="{FF2B5EF4-FFF2-40B4-BE49-F238E27FC236}">
                      <a16:creationId xmlns:a16="http://schemas.microsoft.com/office/drawing/2014/main" id="{F457EF37-D121-4FC7-8B2C-38F743C78049}"/>
                    </a:ext>
                  </a:extLst>
                </p:cNvPr>
                <p:cNvSpPr>
                  <a:spLocks noChangeShapeType="1"/>
                </p:cNvSpPr>
                <p:nvPr/>
              </p:nvSpPr>
              <p:spPr bwMode="auto">
                <a:xfrm>
                  <a:off x="3149601" y="3027364"/>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Line 76">
                  <a:extLst>
                    <a:ext uri="{FF2B5EF4-FFF2-40B4-BE49-F238E27FC236}">
                      <a16:creationId xmlns:a16="http://schemas.microsoft.com/office/drawing/2014/main" id="{838A8C92-D305-4883-9F9B-E9E27497C07B}"/>
                    </a:ext>
                  </a:extLst>
                </p:cNvPr>
                <p:cNvSpPr>
                  <a:spLocks noChangeShapeType="1"/>
                </p:cNvSpPr>
                <p:nvPr/>
              </p:nvSpPr>
              <p:spPr bwMode="auto">
                <a:xfrm>
                  <a:off x="3149601" y="2925764"/>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Line 77">
                  <a:extLst>
                    <a:ext uri="{FF2B5EF4-FFF2-40B4-BE49-F238E27FC236}">
                      <a16:creationId xmlns:a16="http://schemas.microsoft.com/office/drawing/2014/main" id="{EAF8FABB-EEAE-411C-A6F0-EC9D8F8AB3B9}"/>
                    </a:ext>
                  </a:extLst>
                </p:cNvPr>
                <p:cNvSpPr>
                  <a:spLocks noChangeShapeType="1"/>
                </p:cNvSpPr>
                <p:nvPr/>
              </p:nvSpPr>
              <p:spPr bwMode="auto">
                <a:xfrm>
                  <a:off x="3379789" y="2974976"/>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Line 78">
                  <a:extLst>
                    <a:ext uri="{FF2B5EF4-FFF2-40B4-BE49-F238E27FC236}">
                      <a16:creationId xmlns:a16="http://schemas.microsoft.com/office/drawing/2014/main" id="{F9994F4E-71B8-49DE-8967-F867ED17C703}"/>
                    </a:ext>
                  </a:extLst>
                </p:cNvPr>
                <p:cNvSpPr>
                  <a:spLocks noChangeShapeType="1"/>
                </p:cNvSpPr>
                <p:nvPr/>
              </p:nvSpPr>
              <p:spPr bwMode="auto">
                <a:xfrm>
                  <a:off x="3379789" y="3027364"/>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79">
                  <a:extLst>
                    <a:ext uri="{FF2B5EF4-FFF2-40B4-BE49-F238E27FC236}">
                      <a16:creationId xmlns:a16="http://schemas.microsoft.com/office/drawing/2014/main" id="{ED10B28A-A153-4927-9360-487E89A8EB7C}"/>
                    </a:ext>
                  </a:extLst>
                </p:cNvPr>
                <p:cNvSpPr>
                  <a:spLocks noChangeShapeType="1"/>
                </p:cNvSpPr>
                <p:nvPr/>
              </p:nvSpPr>
              <p:spPr bwMode="auto">
                <a:xfrm>
                  <a:off x="3379789" y="2925764"/>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671E396D-7F2F-4A6D-86E9-2D6113DA433C}"/>
                    </a:ext>
                  </a:extLst>
                </p:cNvPr>
                <p:cNvSpPr>
                  <a:spLocks noChangeArrowheads="1"/>
                </p:cNvSpPr>
                <p:nvPr/>
              </p:nvSpPr>
              <p:spPr bwMode="auto">
                <a:xfrm>
                  <a:off x="3238501" y="2913064"/>
                  <a:ext cx="123825" cy="125413"/>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cxnSp>
          <p:nvCxnSpPr>
            <p:cNvPr id="29" name="Straight Connector 28">
              <a:extLst>
                <a:ext uri="{FF2B5EF4-FFF2-40B4-BE49-F238E27FC236}">
                  <a16:creationId xmlns:a16="http://schemas.microsoft.com/office/drawing/2014/main" id="{3B1A869D-39EC-4508-94CD-72A08D3601F6}"/>
                </a:ext>
              </a:extLst>
            </p:cNvPr>
            <p:cNvCxnSpPr>
              <a:cxnSpLocks/>
            </p:cNvCxnSpPr>
            <p:nvPr/>
          </p:nvCxnSpPr>
          <p:spPr>
            <a:xfrm>
              <a:off x="9682163" y="3727521"/>
              <a:ext cx="563273" cy="0"/>
            </a:xfrm>
            <a:prstGeom prst="line">
              <a:avLst/>
            </a:prstGeom>
            <a:solidFill>
              <a:schemeClr val="bg1"/>
            </a:solidFill>
            <a:ln w="22225">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76" name="Rectangle 75">
            <a:extLst>
              <a:ext uri="{FF2B5EF4-FFF2-40B4-BE49-F238E27FC236}">
                <a16:creationId xmlns:a16="http://schemas.microsoft.com/office/drawing/2014/main" id="{49C522D0-AE9A-4512-90D3-6AE529BE6F4A}"/>
              </a:ext>
            </a:extLst>
          </p:cNvPr>
          <p:cNvSpPr/>
          <p:nvPr/>
        </p:nvSpPr>
        <p:spPr>
          <a:xfrm>
            <a:off x="4491563" y="973376"/>
            <a:ext cx="3274423" cy="64633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0" normalizeH="0" baseline="0" noProof="0" dirty="0">
                <a:ln w="3175">
                  <a:noFill/>
                </a:ln>
                <a:gradFill>
                  <a:gsLst>
                    <a:gs pos="0">
                      <a:srgbClr val="FFFFFF"/>
                    </a:gs>
                    <a:gs pos="100000">
                      <a:srgbClr val="FFFFFF"/>
                    </a:gs>
                  </a:gsLst>
                  <a:lin ang="5400000" scaled="0"/>
                </a:gradFill>
                <a:effectLst/>
                <a:uLnTx/>
                <a:uFillTx/>
                <a:latin typeface="Segoe UI Semibold"/>
                <a:ea typeface="+mn-ea"/>
                <a:cs typeface="Segoe UI" pitchFamily="34" charset="0"/>
              </a:rPr>
              <a:t>O</a:t>
            </a:r>
            <a:r>
              <a:rPr kumimoji="0" lang="en-US" sz="3600" b="0" i="0" u="none" strike="noStrike" kern="1200" cap="none" spc="-50" normalizeH="0" noProof="0" dirty="0">
                <a:ln w="3175">
                  <a:noFill/>
                </a:ln>
                <a:gradFill>
                  <a:gsLst>
                    <a:gs pos="0">
                      <a:srgbClr val="FFFFFF"/>
                    </a:gs>
                    <a:gs pos="100000">
                      <a:srgbClr val="FFFFFF"/>
                    </a:gs>
                  </a:gsLst>
                  <a:lin ang="5400000" scaled="0"/>
                </a:gradFill>
                <a:effectLst/>
                <a:uLnTx/>
                <a:uFillTx/>
                <a:latin typeface="Segoe UI Semibold"/>
                <a:ea typeface="+mn-ea"/>
                <a:cs typeface="Segoe UI" pitchFamily="34" charset="0"/>
              </a:rPr>
              <a:t> que é A</a:t>
            </a:r>
            <a:r>
              <a:rPr kumimoji="0" lang="en-US" sz="3600" b="0" i="0" u="none" strike="noStrike" kern="1200" cap="none" spc="-50" normalizeH="0" baseline="0" noProof="0" dirty="0">
                <a:ln w="3175">
                  <a:noFill/>
                </a:ln>
                <a:gradFill>
                  <a:gsLst>
                    <a:gs pos="0">
                      <a:srgbClr val="FFFFFF"/>
                    </a:gs>
                    <a:gs pos="100000">
                      <a:srgbClr val="FFFFFF"/>
                    </a:gs>
                  </a:gsLst>
                  <a:lin ang="5400000" scaled="0"/>
                </a:gradFill>
                <a:effectLst/>
                <a:uLnTx/>
                <a:uFillTx/>
                <a:latin typeface="Segoe UI Semibold"/>
                <a:ea typeface="+mn-ea"/>
                <a:cs typeface="Segoe UI" pitchFamily="34" charset="0"/>
              </a:rPr>
              <a:t>zure?</a:t>
            </a: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15667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par>
                                <p:cTn id="8" presetID="42" presetClass="path" presetSubtype="0" decel="100000" fill="hold" grpId="1" nodeType="withEffect">
                                  <p:stCondLst>
                                    <p:cond delay="0"/>
                                  </p:stCondLst>
                                  <p:childTnLst>
                                    <p:animMotion origin="layout" path="M -4.16667E-6 1.11111E-6 L -4.16667E-6 0.01898 " pathEditMode="relative" rAng="0" ptsTypes="AA">
                                      <p:cBhvr>
                                        <p:cTn id="9" dur="500" spd="-100000" fill="hold"/>
                                        <p:tgtEl>
                                          <p:spTgt spid="76"/>
                                        </p:tgtEl>
                                        <p:attrNameLst>
                                          <p:attrName>ppt_x</p:attrName>
                                          <p:attrName>ppt_y</p:attrName>
                                        </p:attrNameLst>
                                      </p:cBhvr>
                                      <p:rCtr x="0" y="949"/>
                                    </p:animMotion>
                                  </p:childTnLst>
                                </p:cTn>
                              </p:par>
                              <p:par>
                                <p:cTn id="10" presetID="10" presetClass="entr" presetSubtype="0" fill="hold" nodeType="withEffect">
                                  <p:stCondLst>
                                    <p:cond delay="1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100000" fill="hold" nodeType="withEffect">
                                  <p:stCondLst>
                                    <p:cond delay="100"/>
                                  </p:stCondLst>
                                  <p:childTnLst>
                                    <p:animMotion origin="layout" path="M 2.70833E-6 2.96296E-6 L 2.70833E-6 0.01898 " pathEditMode="relative" rAng="0" ptsTypes="AA">
                                      <p:cBhvr>
                                        <p:cTn id="14" dur="500" spd="-100000" fill="hold"/>
                                        <p:tgtEl>
                                          <p:spTgt spid="30"/>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B8B86-692B-45E7-831F-83950013ACED}"/>
              </a:ext>
            </a:extLst>
          </p:cNvPr>
          <p:cNvSpPr>
            <a:spLocks noGrp="1"/>
          </p:cNvSpPr>
          <p:nvPr>
            <p:ph type="title"/>
          </p:nvPr>
        </p:nvSpPr>
        <p:spPr>
          <a:xfrm>
            <a:off x="217219" y="309508"/>
            <a:ext cx="11974781" cy="609398"/>
          </a:xfrm>
        </p:spPr>
        <p:txBody>
          <a:bodyPr/>
          <a:lstStyle/>
          <a:p>
            <a:r>
              <a:rPr lang="en-US" sz="4400" dirty="0">
                <a:hlinkClick r:id="rId2"/>
              </a:rPr>
              <a:t>https://azure.microsoft.com/pt-br/free/students/</a:t>
            </a:r>
            <a:endParaRPr lang="en-US" sz="4400" dirty="0"/>
          </a:p>
        </p:txBody>
      </p:sp>
      <p:sp>
        <p:nvSpPr>
          <p:cNvPr id="3" name="Content Placeholder 2">
            <a:extLst>
              <a:ext uri="{FF2B5EF4-FFF2-40B4-BE49-F238E27FC236}">
                <a16:creationId xmlns:a16="http://schemas.microsoft.com/office/drawing/2014/main" id="{D8B22B4F-B491-4E20-86B6-FA21D95CD9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E64CC003-51F4-40C4-91E7-606110EB42ED}"/>
              </a:ext>
            </a:extLst>
          </p:cNvPr>
          <p:cNvPicPr>
            <a:picLocks noChangeAspect="1"/>
          </p:cNvPicPr>
          <p:nvPr/>
        </p:nvPicPr>
        <p:blipFill>
          <a:blip r:embed="rId3"/>
          <a:stretch>
            <a:fillRect/>
          </a:stretch>
        </p:blipFill>
        <p:spPr>
          <a:xfrm>
            <a:off x="54111" y="1095204"/>
            <a:ext cx="12137889" cy="5546417"/>
          </a:xfrm>
          <a:prstGeom prst="rect">
            <a:avLst/>
          </a:prstGeom>
        </p:spPr>
      </p:pic>
    </p:spTree>
    <p:extLst>
      <p:ext uri="{BB962C8B-B14F-4D97-AF65-F5344CB8AC3E}">
        <p14:creationId xmlns:p14="http://schemas.microsoft.com/office/powerpoint/2010/main" val="502274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3A01AD-DBF6-4ED7-88C1-47690675016E}"/>
              </a:ext>
            </a:extLst>
          </p:cNvPr>
          <p:cNvPicPr>
            <a:picLocks noChangeAspect="1"/>
          </p:cNvPicPr>
          <p:nvPr/>
        </p:nvPicPr>
        <p:blipFill>
          <a:blip r:embed="rId2"/>
          <a:stretch>
            <a:fillRect/>
          </a:stretch>
        </p:blipFill>
        <p:spPr>
          <a:xfrm>
            <a:off x="0" y="548557"/>
            <a:ext cx="12192000" cy="5627881"/>
          </a:xfrm>
          <a:prstGeom prst="rect">
            <a:avLst/>
          </a:prstGeom>
        </p:spPr>
      </p:pic>
      <p:sp>
        <p:nvSpPr>
          <p:cNvPr id="5" name="Rectangle 4">
            <a:extLst>
              <a:ext uri="{FF2B5EF4-FFF2-40B4-BE49-F238E27FC236}">
                <a16:creationId xmlns:a16="http://schemas.microsoft.com/office/drawing/2014/main" id="{0E65C91C-3982-47BB-B5EE-6F1827E707CB}"/>
              </a:ext>
            </a:extLst>
          </p:cNvPr>
          <p:cNvSpPr/>
          <p:nvPr/>
        </p:nvSpPr>
        <p:spPr>
          <a:xfrm>
            <a:off x="63730" y="99753"/>
            <a:ext cx="9013767" cy="646331"/>
          </a:xfrm>
          <a:prstGeom prst="rect">
            <a:avLst/>
          </a:prstGeom>
        </p:spPr>
        <p:txBody>
          <a:bodyPr wrap="square">
            <a:spAutoFit/>
          </a:bodyPr>
          <a:lstStyle/>
          <a:p>
            <a:r>
              <a:rPr lang="en-US" dirty="0">
                <a:hlinkClick r:id="rId3"/>
              </a:rPr>
              <a:t>https://careers.microsoft.com/students/us/en/br-ur-intern-results</a:t>
            </a:r>
            <a:endParaRPr lang="en-US" dirty="0"/>
          </a:p>
          <a:p>
            <a:endParaRPr lang="en-US" dirty="0"/>
          </a:p>
        </p:txBody>
      </p:sp>
    </p:spTree>
    <p:extLst>
      <p:ext uri="{BB962C8B-B14F-4D97-AF65-F5344CB8AC3E}">
        <p14:creationId xmlns:p14="http://schemas.microsoft.com/office/powerpoint/2010/main" val="426042048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ve got the Power </a:t>
            </a:r>
          </a:p>
        </p:txBody>
      </p:sp>
      <p:sp>
        <p:nvSpPr>
          <p:cNvPr id="18" name="TextBox 17"/>
          <p:cNvSpPr txBox="1"/>
          <p:nvPr/>
        </p:nvSpPr>
        <p:spPr>
          <a:xfrm>
            <a:off x="5198405" y="3167390"/>
            <a:ext cx="5651905" cy="523220"/>
          </a:xfrm>
          <a:prstGeom prst="rect">
            <a:avLst/>
          </a:prstGeom>
          <a:noFill/>
        </p:spPr>
        <p:txBody>
          <a:bodyPr wrap="square" rtlCol="0">
            <a:spAutoFit/>
          </a:bodyPr>
          <a:lstStyle/>
          <a:p>
            <a:pPr defTabSz="914363"/>
            <a:r>
              <a:rPr lang="en-US" sz="2800" dirty="0">
                <a:solidFill>
                  <a:srgbClr val="000000"/>
                </a:solidFill>
                <a:latin typeface="Segoe UI Light" panose="020B0502040204020203" pitchFamily="34" charset="0"/>
                <a:cs typeface="Segoe UI Light" panose="020B0502040204020203" pitchFamily="34" charset="0"/>
              </a:rPr>
              <a:t>Overview Power BI</a:t>
            </a:r>
          </a:p>
        </p:txBody>
      </p:sp>
      <p:sp>
        <p:nvSpPr>
          <p:cNvPr id="7" name="Rectangle 6"/>
          <p:cNvSpPr/>
          <p:nvPr/>
        </p:nvSpPr>
        <p:spPr>
          <a:xfrm>
            <a:off x="3099165" y="2621985"/>
            <a:ext cx="1848452" cy="1488810"/>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6137684"/>
            <a:ext cx="1605939" cy="719424"/>
          </a:xfrm>
          <a:prstGeom prst="rect">
            <a:avLst/>
          </a:prstGeom>
        </p:spPr>
      </p:pic>
      <p:grpSp>
        <p:nvGrpSpPr>
          <p:cNvPr id="43" name="Group 42"/>
          <p:cNvGrpSpPr/>
          <p:nvPr/>
        </p:nvGrpSpPr>
        <p:grpSpPr>
          <a:xfrm>
            <a:off x="10326317" y="283079"/>
            <a:ext cx="1642877" cy="337599"/>
            <a:chOff x="4728891" y="340923"/>
            <a:chExt cx="1643305" cy="337687"/>
          </a:xfrm>
        </p:grpSpPr>
        <p:grpSp>
          <p:nvGrpSpPr>
            <p:cNvPr id="46" name="Group 45"/>
            <p:cNvGrpSpPr/>
            <p:nvPr/>
          </p:nvGrpSpPr>
          <p:grpSpPr>
            <a:xfrm>
              <a:off x="4728891" y="357553"/>
              <a:ext cx="344433" cy="321057"/>
              <a:chOff x="3261132" y="2230603"/>
              <a:chExt cx="975204" cy="909018"/>
            </a:xfrm>
          </p:grpSpPr>
          <p:sp>
            <p:nvSpPr>
              <p:cNvPr id="53" name="Rectangle 52"/>
              <p:cNvSpPr/>
              <p:nvPr/>
            </p:nvSpPr>
            <p:spPr>
              <a:xfrm>
                <a:off x="3261132" y="2230603"/>
                <a:ext cx="975204" cy="909018"/>
              </a:xfrm>
              <a:prstGeom prst="rect">
                <a:avLst/>
              </a:prstGeom>
              <a:solidFill>
                <a:srgbClr val="F250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54" name="Group 53"/>
              <p:cNvGrpSpPr/>
              <p:nvPr/>
            </p:nvGrpSpPr>
            <p:grpSpPr>
              <a:xfrm>
                <a:off x="3391654" y="2539200"/>
                <a:ext cx="714159" cy="339522"/>
                <a:chOff x="7738282" y="3870251"/>
                <a:chExt cx="1905101" cy="1356842"/>
              </a:xfrm>
            </p:grpSpPr>
            <p:grpSp>
              <p:nvGrpSpPr>
                <p:cNvPr id="55" name="Group 54"/>
                <p:cNvGrpSpPr>
                  <a:grpSpLocks noChangeAspect="1"/>
                </p:cNvGrpSpPr>
                <p:nvPr/>
              </p:nvGrpSpPr>
              <p:grpSpPr>
                <a:xfrm>
                  <a:off x="7738282" y="4297584"/>
                  <a:ext cx="250611" cy="929509"/>
                  <a:chOff x="4951413" y="-951111"/>
                  <a:chExt cx="2281237" cy="5776913"/>
                </a:xfrm>
              </p:grpSpPr>
              <p:sp>
                <p:nvSpPr>
                  <p:cNvPr id="7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6" name="Group 55"/>
                <p:cNvGrpSpPr>
                  <a:grpSpLocks noChangeAspect="1"/>
                </p:cNvGrpSpPr>
                <p:nvPr/>
              </p:nvGrpSpPr>
              <p:grpSpPr>
                <a:xfrm>
                  <a:off x="8133879" y="3870251"/>
                  <a:ext cx="250611" cy="929509"/>
                  <a:chOff x="4951413" y="-951111"/>
                  <a:chExt cx="2281237" cy="5776913"/>
                </a:xfrm>
              </p:grpSpPr>
              <p:sp>
                <p:nvSpPr>
                  <p:cNvPr id="69"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0"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7" name="Group 56"/>
                <p:cNvGrpSpPr>
                  <a:grpSpLocks noChangeAspect="1"/>
                </p:cNvGrpSpPr>
                <p:nvPr/>
              </p:nvGrpSpPr>
              <p:grpSpPr>
                <a:xfrm>
                  <a:off x="8448602" y="3870251"/>
                  <a:ext cx="250611" cy="929509"/>
                  <a:chOff x="4951413" y="-951111"/>
                  <a:chExt cx="2281237" cy="5776913"/>
                </a:xfrm>
              </p:grpSpPr>
              <p:sp>
                <p:nvSpPr>
                  <p:cNvPr id="67"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8"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8" name="Group 57"/>
                <p:cNvGrpSpPr>
                  <a:grpSpLocks noChangeAspect="1"/>
                </p:cNvGrpSpPr>
                <p:nvPr/>
              </p:nvGrpSpPr>
              <p:grpSpPr>
                <a:xfrm>
                  <a:off x="8763325" y="3870251"/>
                  <a:ext cx="250611" cy="929509"/>
                  <a:chOff x="4951413" y="-951111"/>
                  <a:chExt cx="2281237" cy="5776913"/>
                </a:xfrm>
              </p:grpSpPr>
              <p:sp>
                <p:nvSpPr>
                  <p:cNvPr id="65"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6"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9" name="Group 58"/>
                <p:cNvGrpSpPr>
                  <a:grpSpLocks noChangeAspect="1"/>
                </p:cNvGrpSpPr>
                <p:nvPr/>
              </p:nvGrpSpPr>
              <p:grpSpPr>
                <a:xfrm>
                  <a:off x="9078048" y="3870251"/>
                  <a:ext cx="250611" cy="929509"/>
                  <a:chOff x="4951413" y="-951111"/>
                  <a:chExt cx="2281237" cy="5776913"/>
                </a:xfrm>
              </p:grpSpPr>
              <p:sp>
                <p:nvSpPr>
                  <p:cNvPr id="63"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4" name="Freeform 17"/>
                  <p:cNvSpPr>
                    <a:spLocks/>
                  </p:cNvSpPr>
                  <p:nvPr/>
                </p:nvSpPr>
                <p:spPr bwMode="auto">
                  <a:xfrm>
                    <a:off x="4951413" y="120456"/>
                    <a:ext cx="2281237" cy="4705346"/>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60" name="Group 59"/>
                <p:cNvGrpSpPr>
                  <a:grpSpLocks noChangeAspect="1"/>
                </p:cNvGrpSpPr>
                <p:nvPr/>
              </p:nvGrpSpPr>
              <p:grpSpPr>
                <a:xfrm>
                  <a:off x="9392772" y="3870251"/>
                  <a:ext cx="250611" cy="929509"/>
                  <a:chOff x="4951413" y="-951111"/>
                  <a:chExt cx="2281237" cy="5776913"/>
                </a:xfrm>
              </p:grpSpPr>
              <p:sp>
                <p:nvSpPr>
                  <p:cNvPr id="6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grpSp>
        <p:sp>
          <p:nvSpPr>
            <p:cNvPr id="51" name="Rectangle 50"/>
            <p:cNvSpPr/>
            <p:nvPr/>
          </p:nvSpPr>
          <p:spPr>
            <a:xfrm>
              <a:off x="5594348" y="340924"/>
              <a:ext cx="348332" cy="321057"/>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48" name="Group 47"/>
            <p:cNvGrpSpPr/>
            <p:nvPr/>
          </p:nvGrpSpPr>
          <p:grpSpPr>
            <a:xfrm>
              <a:off x="6027763" y="340923"/>
              <a:ext cx="344433" cy="321057"/>
              <a:chOff x="3263328" y="5196425"/>
              <a:chExt cx="975204" cy="909018"/>
            </a:xfrm>
          </p:grpSpPr>
          <p:sp>
            <p:nvSpPr>
              <p:cNvPr id="49" name="Rectangle 48"/>
              <p:cNvSpPr/>
              <p:nvPr/>
            </p:nvSpPr>
            <p:spPr>
              <a:xfrm>
                <a:off x="3263328" y="5196425"/>
                <a:ext cx="975204" cy="909018"/>
              </a:xfrm>
              <a:prstGeom prst="rect">
                <a:avLst/>
              </a:prstGeom>
              <a:solidFill>
                <a:srgbClr val="00A4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50" name="Graphic 49" descr="Handshake"/>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84937" y="5400990"/>
                <a:ext cx="576098" cy="576098"/>
              </a:xfrm>
              <a:prstGeom prst="rect">
                <a:avLst/>
              </a:prstGeom>
            </p:spPr>
          </p:pic>
        </p:grpSp>
      </p:grpSp>
      <p:grpSp>
        <p:nvGrpSpPr>
          <p:cNvPr id="76" name="Group 75">
            <a:extLst>
              <a:ext uri="{FF2B5EF4-FFF2-40B4-BE49-F238E27FC236}">
                <a16:creationId xmlns:a16="http://schemas.microsoft.com/office/drawing/2014/main" id="{99DD076C-C715-4ED4-8F0E-0098AF5286D4}"/>
              </a:ext>
            </a:extLst>
          </p:cNvPr>
          <p:cNvGrpSpPr/>
          <p:nvPr/>
        </p:nvGrpSpPr>
        <p:grpSpPr>
          <a:xfrm>
            <a:off x="10714578" y="291393"/>
            <a:ext cx="335510" cy="320973"/>
            <a:chOff x="1608156" y="2246498"/>
            <a:chExt cx="985985" cy="908781"/>
          </a:xfrm>
        </p:grpSpPr>
        <p:sp>
          <p:nvSpPr>
            <p:cNvPr id="77" name="Rectangle 76">
              <a:extLst>
                <a:ext uri="{FF2B5EF4-FFF2-40B4-BE49-F238E27FC236}">
                  <a16:creationId xmlns:a16="http://schemas.microsoft.com/office/drawing/2014/main" id="{1E3B78FF-2AE5-40C1-8D2C-479C515C582B}"/>
                </a:ext>
              </a:extLst>
            </p:cNvPr>
            <p:cNvSpPr/>
            <p:nvPr/>
          </p:nvSpPr>
          <p:spPr>
            <a:xfrm>
              <a:off x="1608156" y="2246498"/>
              <a:ext cx="985985" cy="9087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78" name="Picture 4" descr="Resultado de imagem para azure icon">
              <a:extLst>
                <a:ext uri="{FF2B5EF4-FFF2-40B4-BE49-F238E27FC236}">
                  <a16:creationId xmlns:a16="http://schemas.microsoft.com/office/drawing/2014/main" id="{0B0F73F2-4CEC-4F8E-9CED-4A53A0AAF3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930" y="2311437"/>
              <a:ext cx="830436" cy="830436"/>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Resultado de imagem para power bi logo">
            <a:extLst>
              <a:ext uri="{FF2B5EF4-FFF2-40B4-BE49-F238E27FC236}">
                <a16:creationId xmlns:a16="http://schemas.microsoft.com/office/drawing/2014/main" id="{B2931FD9-2C02-4396-A127-8D702FBE33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5471" y="2710834"/>
            <a:ext cx="1436333" cy="1436333"/>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Resultado de imagem para power bi logo">
            <a:extLst>
              <a:ext uri="{FF2B5EF4-FFF2-40B4-BE49-F238E27FC236}">
                <a16:creationId xmlns:a16="http://schemas.microsoft.com/office/drawing/2014/main" id="{04AB4255-429E-42E8-9014-E002EAF8C8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0628" y="336838"/>
            <a:ext cx="230081" cy="230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6017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68832" y="2001053"/>
            <a:ext cx="4332105" cy="2906779"/>
          </a:xfrm>
          <a:prstGeom prst="rect">
            <a:avLst/>
          </a:prstGeom>
        </p:spPr>
        <p:txBody>
          <a:bodyPr wrap="square" lIns="179234" tIns="143387" rIns="179234" bIns="143387">
            <a:spAutoFit/>
          </a:bodyPr>
          <a:lstStyle/>
          <a:p>
            <a:pPr defTabSz="913566">
              <a:lnSpc>
                <a:spcPct val="90000"/>
              </a:lnSpc>
              <a:defRPr/>
            </a:pPr>
            <a:r>
              <a:rPr lang="en-US" sz="2800" dirty="0">
                <a:solidFill>
                  <a:srgbClr val="000000"/>
                </a:solidFill>
                <a:latin typeface="Segoe UI Semibold" panose="020B0702040204020203" pitchFamily="34" charset="0"/>
                <a:cs typeface="Segoe UI Semibold" panose="020B0702040204020203" pitchFamily="34" charset="0"/>
              </a:rPr>
              <a:t>Since February 2018</a:t>
            </a:r>
          </a:p>
          <a:p>
            <a:pPr defTabSz="913566">
              <a:lnSpc>
                <a:spcPct val="90000"/>
              </a:lnSpc>
              <a:defRPr/>
            </a:pPr>
            <a:endParaRPr lang="en-US" sz="2800" dirty="0">
              <a:solidFill>
                <a:srgbClr val="000000"/>
              </a:solidFill>
              <a:latin typeface="Segoe UI Semibold" panose="020B0702040204020203" pitchFamily="34" charset="0"/>
              <a:cs typeface="Segoe UI Semibold" panose="020B0702040204020203" pitchFamily="34" charset="0"/>
            </a:endParaRPr>
          </a:p>
          <a:p>
            <a:pPr defTabSz="913566">
              <a:lnSpc>
                <a:spcPct val="90000"/>
              </a:lnSpc>
              <a:defRPr/>
            </a:pPr>
            <a:r>
              <a:rPr lang="en-US" sz="4309" dirty="0">
                <a:gradFill>
                  <a:gsLst>
                    <a:gs pos="2917">
                      <a:srgbClr val="353535"/>
                    </a:gs>
                    <a:gs pos="100000">
                      <a:srgbClr val="353535"/>
                    </a:gs>
                  </a:gsLst>
                  <a:lin ang="5400000" scaled="0"/>
                </a:gradFill>
                <a:latin typeface="Segoe UI Light"/>
              </a:rPr>
              <a:t>A Leader in </a:t>
            </a:r>
          </a:p>
          <a:p>
            <a:pPr defTabSz="913566">
              <a:lnSpc>
                <a:spcPct val="90000"/>
              </a:lnSpc>
              <a:defRPr/>
            </a:pPr>
            <a:r>
              <a:rPr lang="en-US" sz="4309" dirty="0">
                <a:gradFill>
                  <a:gsLst>
                    <a:gs pos="2917">
                      <a:srgbClr val="353535"/>
                    </a:gs>
                    <a:gs pos="100000">
                      <a:srgbClr val="353535"/>
                    </a:gs>
                  </a:gsLst>
                  <a:lin ang="5400000" scaled="0"/>
                </a:gradFill>
                <a:latin typeface="Segoe UI Light"/>
              </a:rPr>
              <a:t>Analytics &amp; BI Platforms</a:t>
            </a:r>
            <a:r>
              <a:rPr lang="en-US" sz="2400" dirty="0">
                <a:gradFill>
                  <a:gsLst>
                    <a:gs pos="2917">
                      <a:srgbClr val="353535"/>
                    </a:gs>
                    <a:gs pos="100000">
                      <a:srgbClr val="353535"/>
                    </a:gs>
                  </a:gsLst>
                  <a:lin ang="5400000" scaled="0"/>
                </a:gradFill>
                <a:latin typeface="Segoe UI Light"/>
              </a:rPr>
              <a:t>*</a:t>
            </a:r>
            <a:endParaRPr lang="en-US" sz="4309" dirty="0">
              <a:gradFill>
                <a:gsLst>
                  <a:gs pos="2917">
                    <a:srgbClr val="353535"/>
                  </a:gs>
                  <a:gs pos="100000">
                    <a:srgbClr val="353535"/>
                  </a:gs>
                </a:gsLst>
                <a:lin ang="5400000" scaled="0"/>
              </a:gradFill>
              <a:latin typeface="Segoe UI Light"/>
            </a:endParaRPr>
          </a:p>
        </p:txBody>
      </p:sp>
      <p:sp>
        <p:nvSpPr>
          <p:cNvPr id="9" name="TextBox 8"/>
          <p:cNvSpPr txBox="1"/>
          <p:nvPr/>
        </p:nvSpPr>
        <p:spPr>
          <a:xfrm>
            <a:off x="362452" y="5808272"/>
            <a:ext cx="11705292" cy="1063371"/>
          </a:xfrm>
          <a:prstGeom prst="rect">
            <a:avLst/>
          </a:prstGeom>
          <a:noFill/>
        </p:spPr>
        <p:txBody>
          <a:bodyPr wrap="square" lIns="179208" tIns="143366" rIns="179208" bIns="143366" rtlCol="0">
            <a:spAutoFit/>
          </a:bodyPr>
          <a:lstStyle/>
          <a:p>
            <a:pPr defTabSz="913509">
              <a:defRPr/>
            </a:pPr>
            <a:endParaRPr lang="en-US" sz="784" b="1" i="1" dirty="0">
              <a:gradFill>
                <a:gsLst>
                  <a:gs pos="5439">
                    <a:srgbClr val="737373"/>
                  </a:gs>
                  <a:gs pos="89000">
                    <a:srgbClr val="737373"/>
                  </a:gs>
                </a:gsLst>
                <a:lin ang="5400000" scaled="0"/>
              </a:gradFill>
              <a:latin typeface="Segoe UI"/>
            </a:endParaRPr>
          </a:p>
          <a:p>
            <a:pPr defTabSz="913685">
              <a:defRPr/>
            </a:pPr>
            <a:r>
              <a:rPr lang="en-US" sz="800" b="1" kern="0" dirty="0">
                <a:solidFill>
                  <a:srgbClr val="FFFFFF">
                    <a:lumMod val="50000"/>
                  </a:srgbClr>
                </a:solidFill>
                <a:latin typeface="Segoe UI"/>
              </a:rPr>
              <a:t>*Gartner “Magic Quadrant for Analytics and Business Intelligence Platforms,” by Cindi Howson, Rita L. </a:t>
            </a:r>
            <a:r>
              <a:rPr lang="en-US" sz="800" b="1" kern="0" dirty="0" err="1">
                <a:solidFill>
                  <a:srgbClr val="FFFFFF">
                    <a:lumMod val="50000"/>
                  </a:srgbClr>
                </a:solidFill>
                <a:latin typeface="Segoe UI"/>
              </a:rPr>
              <a:t>Sallam</a:t>
            </a:r>
            <a:r>
              <a:rPr lang="en-US" sz="800" b="1" kern="0" dirty="0">
                <a:solidFill>
                  <a:srgbClr val="FFFFFF">
                    <a:lumMod val="50000"/>
                  </a:srgbClr>
                </a:solidFill>
                <a:latin typeface="Segoe UI"/>
              </a:rPr>
              <a:t>, James Laurence Richardson, Joao </a:t>
            </a:r>
            <a:r>
              <a:rPr lang="en-US" sz="800" b="1" kern="0" dirty="0" err="1">
                <a:solidFill>
                  <a:srgbClr val="FFFFFF">
                    <a:lumMod val="50000"/>
                  </a:srgbClr>
                </a:solidFill>
                <a:latin typeface="Segoe UI"/>
              </a:rPr>
              <a:t>Tapadinhas</a:t>
            </a:r>
            <a:r>
              <a:rPr lang="en-US" sz="800" b="1" kern="0" dirty="0">
                <a:solidFill>
                  <a:srgbClr val="FFFFFF">
                    <a:lumMod val="50000"/>
                  </a:srgbClr>
                </a:solidFill>
                <a:latin typeface="Segoe UI"/>
              </a:rPr>
              <a:t>, Carlie J. </a:t>
            </a:r>
            <a:r>
              <a:rPr lang="en-US" sz="800" b="1" kern="0" dirty="0" err="1">
                <a:solidFill>
                  <a:srgbClr val="FFFFFF">
                    <a:lumMod val="50000"/>
                  </a:srgbClr>
                </a:solidFill>
                <a:latin typeface="Segoe UI"/>
              </a:rPr>
              <a:t>Idoine</a:t>
            </a:r>
            <a:r>
              <a:rPr lang="en-US" sz="800" b="1" kern="0" dirty="0">
                <a:solidFill>
                  <a:srgbClr val="FFFFFF">
                    <a:lumMod val="50000"/>
                  </a:srgbClr>
                </a:solidFill>
                <a:latin typeface="Segoe UI"/>
              </a:rPr>
              <a:t>, </a:t>
            </a:r>
            <a:r>
              <a:rPr lang="en-US" sz="800" b="1" kern="0" dirty="0" err="1">
                <a:solidFill>
                  <a:srgbClr val="FFFFFF">
                    <a:lumMod val="50000"/>
                  </a:srgbClr>
                </a:solidFill>
                <a:latin typeface="Segoe UI"/>
              </a:rPr>
              <a:t>Alys</a:t>
            </a:r>
            <a:r>
              <a:rPr lang="en-US" sz="800" b="1" kern="0" dirty="0">
                <a:solidFill>
                  <a:srgbClr val="FFFFFF">
                    <a:lumMod val="50000"/>
                  </a:srgbClr>
                </a:solidFill>
                <a:latin typeface="Segoe UI"/>
              </a:rPr>
              <a:t> Woodward, February 2018</a:t>
            </a:r>
          </a:p>
          <a:p>
            <a:pPr>
              <a:spcAft>
                <a:spcPts val="200"/>
              </a:spcAft>
              <a:defRPr/>
            </a:pPr>
            <a:r>
              <a:rPr lang="en-US" sz="800" kern="0" dirty="0">
                <a:solidFill>
                  <a:srgbClr val="FFFFFF">
                    <a:lumMod val="50000"/>
                  </a:srgbClr>
                </a:solidFill>
                <a:latin typeface="Segoe UI"/>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p>
          <a:p>
            <a:pPr defTabSz="913509">
              <a:defRPr/>
            </a:pPr>
            <a:endParaRPr lang="en-US" sz="784" i="1" dirty="0">
              <a:gradFill>
                <a:gsLst>
                  <a:gs pos="5439">
                    <a:srgbClr val="737373"/>
                  </a:gs>
                  <a:gs pos="89000">
                    <a:srgbClr val="737373"/>
                  </a:gs>
                </a:gsLst>
                <a:lin ang="5400000" scaled="0"/>
              </a:gradFill>
              <a:latin typeface="Segoe UI"/>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0854" y="636896"/>
            <a:ext cx="3093573" cy="702324"/>
          </a:xfrm>
          <a:prstGeom prst="rect">
            <a:avLst/>
          </a:prstGeom>
        </p:spPr>
      </p:pic>
      <p:pic>
        <p:nvPicPr>
          <p:cNvPr id="6146" name="Picture 2">
            <a:extLst>
              <a:ext uri="{FF2B5EF4-FFF2-40B4-BE49-F238E27FC236}">
                <a16:creationId xmlns:a16="http://schemas.microsoft.com/office/drawing/2014/main" id="{6D7AE9BA-EA11-4D1B-B23E-B612972E88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0871" y="480228"/>
            <a:ext cx="5340275" cy="5340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05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0"/>
                                        </p:tgtEl>
                                        <p:attrNameLst>
                                          <p:attrName>ppt_x</p:attrName>
                                          <p:attrName>ppt_y</p:attrName>
                                        </p:attrNameLst>
                                      </p:cBhvr>
                                      <p:rCtr x="755" y="0"/>
                                    </p:animMotion>
                                  </p:childTnLst>
                                </p:cTn>
                              </p:par>
                              <p:par>
                                <p:cTn id="10" presetID="10" presetClass="entr" presetSubtype="0" fill="hold" grpId="0" nodeType="withEffect">
                                  <p:stCondLst>
                                    <p:cond delay="15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decel="100000" fill="hold" grpId="1" nodeType="withEffect">
                                  <p:stCondLst>
                                    <p:cond delay="150"/>
                                  </p:stCondLst>
                                  <p:childTnLst>
                                    <p:animMotion origin="layout" path="M -2.5E-6 3.7037E-6 L -0.0151 3.7037E-6 " pathEditMode="relative" rAng="0" ptsTypes="AA">
                                      <p:cBhvr>
                                        <p:cTn id="14" dur="750" spd="-100000" fill="hold"/>
                                        <p:tgtEl>
                                          <p:spTgt spid="6"/>
                                        </p:tgtEl>
                                        <p:attrNameLst>
                                          <p:attrName>ppt_x</p:attrName>
                                          <p:attrName>ppt_y</p:attrName>
                                        </p:attrNameLst>
                                      </p:cBhvr>
                                      <p:rCtr x="-755" y="0"/>
                                    </p:animMotion>
                                  </p:childTnLst>
                                </p:cTn>
                              </p:par>
                              <p:par>
                                <p:cTn id="15" presetID="10" presetClass="entr" presetSubtype="0" fill="hold" grpId="0"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decel="100000" fill="hold" grpId="1" nodeType="withEffect">
                                  <p:stCondLst>
                                    <p:cond delay="150"/>
                                  </p:stCondLst>
                                  <p:childTnLst>
                                    <p:animMotion origin="layout" path="M 1.66667E-6 -4.07407E-6 L -0.01511 -4.07407E-6 " pathEditMode="relative" rAng="0" ptsTypes="AA">
                                      <p:cBhvr>
                                        <p:cTn id="19" dur="750" spd="-100000" fill="hold"/>
                                        <p:tgtEl>
                                          <p:spTgt spid="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9" grpId="0"/>
      <p:bldP spid="9"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3.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4.xml><?xml version="1.0" encoding="utf-8"?>
<a:theme xmlns:a="http://schemas.openxmlformats.org/drawingml/2006/main" name="Template Metro Template Light 16x9">
  <a:themeElements>
    <a:clrScheme name="Microsoft Corp Colors">
      <a:dk1>
        <a:srgbClr val="000000"/>
      </a:dk1>
      <a:lt1>
        <a:srgbClr val="FFFFFF"/>
      </a:lt1>
      <a:dk2>
        <a:srgbClr val="3F3F3F"/>
      </a:dk2>
      <a:lt2>
        <a:srgbClr val="F2F2F2"/>
      </a:lt2>
      <a:accent1>
        <a:srgbClr val="00BCF2"/>
      </a:accent1>
      <a:accent2>
        <a:srgbClr val="BAD80A"/>
      </a:accent2>
      <a:accent3>
        <a:srgbClr val="FF8C00"/>
      </a:accent3>
      <a:accent4>
        <a:srgbClr val="EC008C"/>
      </a:accent4>
      <a:accent5>
        <a:srgbClr val="00198F"/>
      </a:accent5>
      <a:accent6>
        <a:srgbClr val="68217A"/>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7.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9</TotalTime>
  <Words>1427</Words>
  <Application>Microsoft Office PowerPoint</Application>
  <PresentationFormat>Widescreen</PresentationFormat>
  <Paragraphs>227</Paragraphs>
  <Slides>22</Slides>
  <Notes>20</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39" baseType="lpstr">
      <vt:lpstr>Arial</vt:lpstr>
      <vt:lpstr>Calibri</vt:lpstr>
      <vt:lpstr>Calibri Light</vt:lpstr>
      <vt:lpstr>Consolas</vt:lpstr>
      <vt:lpstr>Segoe UI</vt:lpstr>
      <vt:lpstr>Segoe UI Light</vt:lpstr>
      <vt:lpstr>Segoe UI Semibold</vt:lpstr>
      <vt:lpstr>Segoe UI Semilight</vt:lpstr>
      <vt:lpstr>Wingdings</vt:lpstr>
      <vt:lpstr>Office Theme</vt:lpstr>
      <vt:lpstr>WHITE TEMPLATE</vt:lpstr>
      <vt:lpstr>3_WHITE TEMPLATE</vt:lpstr>
      <vt:lpstr>Template Metro Template Light 16x9</vt:lpstr>
      <vt:lpstr>1_Office Theme</vt:lpstr>
      <vt:lpstr>Black Template</vt:lpstr>
      <vt:lpstr>1_6-30537_Envision 2016 Keynote Template</vt:lpstr>
      <vt:lpstr>think-cell Slide</vt:lpstr>
      <vt:lpstr>Azure + Power BI</vt:lpstr>
      <vt:lpstr>Agenda</vt:lpstr>
      <vt:lpstr>Azure Cloud</vt:lpstr>
      <vt:lpstr>PowerPoint Presentation</vt:lpstr>
      <vt:lpstr>PowerPoint Presentation</vt:lpstr>
      <vt:lpstr>https://azure.microsoft.com/pt-br/free/students/</vt:lpstr>
      <vt:lpstr>PowerPoint Presentation</vt:lpstr>
      <vt:lpstr>I’ve got the Power </vt:lpstr>
      <vt:lpstr>PowerPoint Presentation</vt:lpstr>
      <vt:lpstr>Support hybrid data</vt:lpstr>
      <vt:lpstr>PowerPoint Presentation</vt:lpstr>
      <vt:lpstr>PowerPoint Presentation</vt:lpstr>
      <vt:lpstr>Power BI Desktop Data sources Over 80+ data sources and growing</vt:lpstr>
      <vt:lpstr>PowerPoint Presentation</vt:lpstr>
      <vt:lpstr>PowerPoint Presentation</vt:lpstr>
      <vt:lpstr>PowerPoint Presentation</vt:lpstr>
      <vt:lpstr>PowerPoint Presentation</vt:lpstr>
      <vt:lpstr>PowerPoint Presentation</vt:lpstr>
      <vt:lpstr>PowerPoint Presentation</vt:lpstr>
      <vt:lpstr>Power BI product portfoli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Overview</dc:title>
  <dc:creator>Lucas Tavares Cosas</dc:creator>
  <cp:lastModifiedBy>Lucas Cosas</cp:lastModifiedBy>
  <cp:revision>2</cp:revision>
  <dcterms:created xsi:type="dcterms:W3CDTF">2018-05-15T16:45:07Z</dcterms:created>
  <dcterms:modified xsi:type="dcterms:W3CDTF">2019-11-11T14:1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lutava@microsoft.com</vt:lpwstr>
  </property>
  <property fmtid="{D5CDD505-2E9C-101B-9397-08002B2CF9AE}" pid="5" name="MSIP_Label_f42aa342-8706-4288-bd11-ebb85995028c_SetDate">
    <vt:lpwstr>2018-05-15T17:58:31.141256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